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7.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714" r:id="rId7"/>
    <p:sldMasterId id="2147483787" r:id="rId8"/>
    <p:sldMasterId id="2147483860" r:id="rId9"/>
    <p:sldMasterId id="2147483933" r:id="rId10"/>
    <p:sldMasterId id="2147483970" r:id="rId11"/>
  </p:sldMasterIdLst>
  <p:notesMasterIdLst>
    <p:notesMasterId r:id="rId45"/>
  </p:notesMasterIdLst>
  <p:sldIdLst>
    <p:sldId id="257" r:id="rId12"/>
    <p:sldId id="259" r:id="rId13"/>
    <p:sldId id="2147482121" r:id="rId14"/>
    <p:sldId id="2147482541" r:id="rId15"/>
    <p:sldId id="2147482542" r:id="rId16"/>
    <p:sldId id="2147482394" r:id="rId17"/>
    <p:sldId id="2147482122" r:id="rId18"/>
    <p:sldId id="2147482395" r:id="rId19"/>
    <p:sldId id="286" r:id="rId20"/>
    <p:sldId id="2147482128" r:id="rId21"/>
    <p:sldId id="2147483607" r:id="rId22"/>
    <p:sldId id="2147482397" r:id="rId23"/>
    <p:sldId id="2147482390" r:id="rId24"/>
    <p:sldId id="2147482133" r:id="rId25"/>
    <p:sldId id="2147481926" r:id="rId26"/>
    <p:sldId id="2147481925" r:id="rId27"/>
    <p:sldId id="2147481919" r:id="rId28"/>
    <p:sldId id="2147481921" r:id="rId29"/>
    <p:sldId id="2147482389" r:id="rId30"/>
    <p:sldId id="2147482123" r:id="rId31"/>
    <p:sldId id="2147482391" r:id="rId32"/>
    <p:sldId id="2147482124" r:id="rId33"/>
    <p:sldId id="2147482127" r:id="rId34"/>
    <p:sldId id="2147482125" r:id="rId35"/>
    <p:sldId id="2147482392" r:id="rId36"/>
    <p:sldId id="2147482398" r:id="rId37"/>
    <p:sldId id="2147482126" r:id="rId38"/>
    <p:sldId id="2147482393" r:id="rId39"/>
    <p:sldId id="2147483614" r:id="rId40"/>
    <p:sldId id="2147482396" r:id="rId41"/>
    <p:sldId id="2147483611" r:id="rId42"/>
    <p:sldId id="2147483612" r:id="rId43"/>
    <p:sldId id="2147483613"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72D5217-D9B5-4976-9610-35F29A9C9460}">
          <p14:sldIdLst>
            <p14:sldId id="257"/>
            <p14:sldId id="259"/>
          </p14:sldIdLst>
        </p14:section>
        <p14:section name="Welcome &amp; Introductions" id="{3F0608A5-DD10-4A9F-9237-4B02CF6CEADF}">
          <p14:sldIdLst>
            <p14:sldId id="2147482121"/>
            <p14:sldId id="2147482541"/>
            <p14:sldId id="2147482542"/>
            <p14:sldId id="2147482394"/>
          </p14:sldIdLst>
        </p14:section>
        <p14:section name="Setting the Stage" id="{2A6FFFB7-315B-4FDB-9050-F15DBC311E9A}">
          <p14:sldIdLst>
            <p14:sldId id="2147482122"/>
            <p14:sldId id="2147482395"/>
            <p14:sldId id="286"/>
            <p14:sldId id="2147482128"/>
            <p14:sldId id="2147483607"/>
            <p14:sldId id="2147482397"/>
            <p14:sldId id="2147482390"/>
            <p14:sldId id="2147482133"/>
            <p14:sldId id="2147481926"/>
            <p14:sldId id="2147481925"/>
            <p14:sldId id="2147481919"/>
            <p14:sldId id="2147481921"/>
            <p14:sldId id="2147482389"/>
          </p14:sldIdLst>
        </p14:section>
        <p14:section name="Hands-On Lab" id="{C12964D6-461A-4D3A-A4B5-BB42285F5D8D}">
          <p14:sldIdLst>
            <p14:sldId id="2147482123"/>
            <p14:sldId id="2147482391"/>
          </p14:sldIdLst>
        </p14:section>
        <p14:section name="Break" id="{7972D8AB-984F-4E8F-9607-E9CB20594047}">
          <p14:sldIdLst>
            <p14:sldId id="2147482124"/>
            <p14:sldId id="2147482127"/>
          </p14:sldIdLst>
        </p14:section>
        <p14:section name="Show &amp; Tell" id="{259B7B94-0954-4B8A-80CD-F01252B01469}">
          <p14:sldIdLst>
            <p14:sldId id="2147482125"/>
            <p14:sldId id="2147482392"/>
            <p14:sldId id="2147482398"/>
          </p14:sldIdLst>
        </p14:section>
        <p14:section name="Close" id="{C6497EA7-CDF8-4AAB-8E61-E706BC0589B9}">
          <p14:sldIdLst>
            <p14:sldId id="2147482126"/>
            <p14:sldId id="2147482393"/>
            <p14:sldId id="2147483614"/>
            <p14:sldId id="2147482396"/>
          </p14:sldIdLst>
        </p14:section>
        <p14:section name="Appendix" id="{6D878B44-CAA4-4241-92F3-B706243A3408}">
          <p14:sldIdLst>
            <p14:sldId id="2147483611"/>
            <p14:sldId id="2147483612"/>
            <p14:sldId id="21474836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59ED7"/>
    <a:srgbClr val="0D0B0C"/>
    <a:srgbClr val="8DC8E8"/>
    <a:srgbClr val="0078D4"/>
    <a:srgbClr val="10374E"/>
    <a:srgbClr val="091F2C"/>
    <a:srgbClr val="89CCFD"/>
    <a:srgbClr val="0A0A0A"/>
    <a:srgbClr val="A1EDDB"/>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26B44B-3791-4FC4-B948-8FBB12937951}" v="2" dt="2025-02-18T13:09:41.0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3" d="100"/>
          <a:sy n="123" d="100"/>
        </p:scale>
        <p:origin x="96" y="40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Tooles" userId="831746c4-f1a4-4e78-99f9-c748f9babc85" providerId="ADAL" clId="{8826B44B-3791-4FC4-B948-8FBB12937951}"/>
    <pc:docChg chg="custSel delSld modSld modSection">
      <pc:chgData name="James Tooles" userId="831746c4-f1a4-4e78-99f9-c748f9babc85" providerId="ADAL" clId="{8826B44B-3791-4FC4-B948-8FBB12937951}" dt="2025-02-18T13:10:36.150" v="5" actId="729"/>
      <pc:docMkLst>
        <pc:docMk/>
      </pc:docMkLst>
      <pc:sldChg chg="mod modShow">
        <pc:chgData name="James Tooles" userId="831746c4-f1a4-4e78-99f9-c748f9babc85" providerId="ADAL" clId="{8826B44B-3791-4FC4-B948-8FBB12937951}" dt="2025-02-18T13:10:36.150" v="5" actId="729"/>
        <pc:sldMkLst>
          <pc:docMk/>
          <pc:sldMk cId="1950432914" sldId="259"/>
        </pc:sldMkLst>
      </pc:sldChg>
      <pc:sldChg chg="delSp mod">
        <pc:chgData name="James Tooles" userId="831746c4-f1a4-4e78-99f9-c748f9babc85" providerId="ADAL" clId="{8826B44B-3791-4FC4-B948-8FBB12937951}" dt="2025-02-18T13:08:44.786" v="0" actId="478"/>
        <pc:sldMkLst>
          <pc:docMk/>
          <pc:sldMk cId="1372010162" sldId="2147482391"/>
        </pc:sldMkLst>
        <pc:spChg chg="del">
          <ac:chgData name="James Tooles" userId="831746c4-f1a4-4e78-99f9-c748f9babc85" providerId="ADAL" clId="{8826B44B-3791-4FC4-B948-8FBB12937951}" dt="2025-02-18T13:08:44.786" v="0" actId="478"/>
          <ac:spMkLst>
            <pc:docMk/>
            <pc:sldMk cId="1372010162" sldId="2147482391"/>
            <ac:spMk id="7" creationId="{B7D453CD-1EA7-55A1-22B1-B5DE76B55675}"/>
          </ac:spMkLst>
        </pc:spChg>
      </pc:sldChg>
      <pc:sldChg chg="delSp mod">
        <pc:chgData name="James Tooles" userId="831746c4-f1a4-4e78-99f9-c748f9babc85" providerId="ADAL" clId="{8826B44B-3791-4FC4-B948-8FBB12937951}" dt="2025-02-18T13:09:24.550" v="3" actId="478"/>
        <pc:sldMkLst>
          <pc:docMk/>
          <pc:sldMk cId="4127103404" sldId="2147482542"/>
        </pc:sldMkLst>
        <pc:spChg chg="del">
          <ac:chgData name="James Tooles" userId="831746c4-f1a4-4e78-99f9-c748f9babc85" providerId="ADAL" clId="{8826B44B-3791-4FC4-B948-8FBB12937951}" dt="2025-02-18T13:09:19.283" v="2" actId="478"/>
          <ac:spMkLst>
            <pc:docMk/>
            <pc:sldMk cId="4127103404" sldId="2147482542"/>
            <ac:spMk id="11" creationId="{1DEAC2D7-5C50-2E3F-777B-572040382388}"/>
          </ac:spMkLst>
        </pc:spChg>
        <pc:spChg chg="del">
          <ac:chgData name="James Tooles" userId="831746c4-f1a4-4e78-99f9-c748f9babc85" providerId="ADAL" clId="{8826B44B-3791-4FC4-B948-8FBB12937951}" dt="2025-02-18T13:09:24.550" v="3" actId="478"/>
          <ac:spMkLst>
            <pc:docMk/>
            <pc:sldMk cId="4127103404" sldId="2147482542"/>
            <ac:spMk id="13" creationId="{4D744E8E-017C-6825-F707-AA16B190BF5A}"/>
          </ac:spMkLst>
        </pc:spChg>
        <pc:picChg chg="del">
          <ac:chgData name="James Tooles" userId="831746c4-f1a4-4e78-99f9-c748f9babc85" providerId="ADAL" clId="{8826B44B-3791-4FC4-B948-8FBB12937951}" dt="2025-02-18T13:09:19.283" v="2" actId="478"/>
          <ac:picMkLst>
            <pc:docMk/>
            <pc:sldMk cId="4127103404" sldId="2147482542"/>
            <ac:picMk id="1026" creationId="{846B132B-9A6A-F203-BB2F-90DCC664A4A0}"/>
          </ac:picMkLst>
        </pc:picChg>
      </pc:sldChg>
      <pc:sldChg chg="del">
        <pc:chgData name="James Tooles" userId="831746c4-f1a4-4e78-99f9-c748f9babc85" providerId="ADAL" clId="{8826B44B-3791-4FC4-B948-8FBB12937951}" dt="2025-02-18T13:08:59.116" v="1" actId="47"/>
        <pc:sldMkLst>
          <pc:docMk/>
          <pc:sldMk cId="1011439141" sldId="2147483606"/>
        </pc:sldMkLst>
      </pc:sldChg>
      <pc:sldChg chg="del">
        <pc:chgData name="James Tooles" userId="831746c4-f1a4-4e78-99f9-c748f9babc85" providerId="ADAL" clId="{8826B44B-3791-4FC4-B948-8FBB12937951}" dt="2025-02-18T13:08:59.116" v="1" actId="47"/>
        <pc:sldMkLst>
          <pc:docMk/>
          <pc:sldMk cId="2769317295" sldId="2147483608"/>
        </pc:sldMkLst>
      </pc:sldChg>
      <pc:sldChg chg="del">
        <pc:chgData name="James Tooles" userId="831746c4-f1a4-4e78-99f9-c748f9babc85" providerId="ADAL" clId="{8826B44B-3791-4FC4-B948-8FBB12937951}" dt="2025-02-18T13:08:59.116" v="1" actId="47"/>
        <pc:sldMkLst>
          <pc:docMk/>
          <pc:sldMk cId="932316183" sldId="2147483610"/>
        </pc:sldMkLst>
      </pc:sldChg>
      <pc:sldChg chg="delSp">
        <pc:chgData name="James Tooles" userId="831746c4-f1a4-4e78-99f9-c748f9babc85" providerId="ADAL" clId="{8826B44B-3791-4FC4-B948-8FBB12937951}" dt="2025-02-18T13:09:41.036" v="4" actId="478"/>
        <pc:sldMkLst>
          <pc:docMk/>
          <pc:sldMk cId="1513042941" sldId="2147483614"/>
        </pc:sldMkLst>
        <pc:spChg chg="del">
          <ac:chgData name="James Tooles" userId="831746c4-f1a4-4e78-99f9-c748f9babc85" providerId="ADAL" clId="{8826B44B-3791-4FC4-B948-8FBB12937951}" dt="2025-02-18T13:09:41.036" v="4" actId="478"/>
          <ac:spMkLst>
            <pc:docMk/>
            <pc:sldMk cId="1513042941" sldId="2147483614"/>
            <ac:spMk id="2" creationId="{5FC25D94-ADA2-5E22-F72B-4D266AC3ACF1}"/>
          </ac:spMkLst>
        </pc:spChg>
        <pc:spChg chg="del">
          <ac:chgData name="James Tooles" userId="831746c4-f1a4-4e78-99f9-c748f9babc85" providerId="ADAL" clId="{8826B44B-3791-4FC4-B948-8FBB12937951}" dt="2025-02-18T13:09:41.036" v="4" actId="478"/>
          <ac:spMkLst>
            <pc:docMk/>
            <pc:sldMk cId="1513042941" sldId="2147483614"/>
            <ac:spMk id="11" creationId="{B091C647-DB65-EDA0-C5F8-45A606A36D2A}"/>
          </ac:spMkLst>
        </pc:spChg>
        <pc:picChg chg="del">
          <ac:chgData name="James Tooles" userId="831746c4-f1a4-4e78-99f9-c748f9babc85" providerId="ADAL" clId="{8826B44B-3791-4FC4-B948-8FBB12937951}" dt="2025-02-18T13:09:41.036" v="4" actId="478"/>
          <ac:picMkLst>
            <pc:docMk/>
            <pc:sldMk cId="1513042941" sldId="2147483614"/>
            <ac:picMk id="1026" creationId="{93DC5420-692B-423B-C0B4-79BE545AF8D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2/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9C4B2-708F-38B3-5005-4D8905DA6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EF6E8-2208-831C-45B6-1BC76CB57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519003-F464-551F-D480-7CFAB7C3E5E7}"/>
              </a:ext>
            </a:extLst>
          </p:cNvPr>
          <p:cNvSpPr>
            <a:spLocks noGrp="1"/>
          </p:cNvSpPr>
          <p:nvPr>
            <p:ph type="body" idx="1"/>
          </p:nvPr>
        </p:nvSpPr>
        <p:spPr/>
        <p:txBody>
          <a:bodyPr/>
          <a:lstStyle/>
          <a:p>
            <a:pPr algn="l" rtl="0" fontAlgn="base"/>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There are generally three ways to apply domain knowledge and share your data with your LLMs.</a:t>
            </a:r>
          </a:p>
          <a:p>
            <a:pPr algn="l" rtl="0" fontAlgn="base"/>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Sometimes you can get the job done by simply doing prompt engineering. This is particularly the case when you have a static situation and a single prompt where you can work on it until gives you the answers you want and then you are set.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Other times, fine-tuning can be an interesting option. While fine-tuning is not necessarily great for learning new facts, it's actually really good when you need your app to learn skills, for example, like company jargon, providing a different “tone” of response, etc.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Now, when it comes to learning facts, based on data that your application or your organization produces, retrieval-augmentation is the pattern to go for. </a:t>
            </a:r>
            <a:endParaRPr lang="en-US" b="0" i="0">
              <a:solidFill>
                <a:srgbClr val="000000"/>
              </a:solidFill>
              <a:effectLst/>
              <a:highlight>
                <a:srgbClr val="FFFFFF"/>
              </a:highlight>
            </a:endParaRPr>
          </a:p>
        </p:txBody>
      </p:sp>
      <p:sp>
        <p:nvSpPr>
          <p:cNvPr id="4" name="Header Placeholder 3">
            <a:extLst>
              <a:ext uri="{FF2B5EF4-FFF2-40B4-BE49-F238E27FC236}">
                <a16:creationId xmlns:a16="http://schemas.microsoft.com/office/drawing/2014/main" id="{946CD155-A126-A545-73EB-85C4B4E5F68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8976AC18-FE02-061E-313C-69508B65534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163AD6-12B7-0FF2-07E5-06AEFD73FD9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5 7:36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9A318B7D-558B-A80E-701E-E2D9D9A2490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821536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 you’re going to use your own data in your </a:t>
            </a:r>
            <a:r>
              <a:rPr lang="en-US" err="1"/>
              <a:t>GenAI</a:t>
            </a:r>
            <a:r>
              <a:rPr lang="en-US"/>
              <a:t> app, Azure AI Search acts as the retrieval system in your RAG architecture: It incorporates the most relevant, domain specific knowledge for every query, so your application provides the responses you expect. </a:t>
            </a:r>
          </a:p>
          <a:p>
            <a:pPr>
              <a:defRPr/>
            </a:pPr>
            <a:endParaRPr lang="en-US"/>
          </a:p>
          <a:p>
            <a:pPr>
              <a:defRPr/>
            </a:pPr>
            <a:r>
              <a:rPr lang="en-US"/>
              <a:t>A common way to describe RAG is that you are “grounding” your AI application with your data.</a:t>
            </a:r>
          </a:p>
          <a:p>
            <a:pPr>
              <a:defRPr/>
            </a:pPr>
            <a:r>
              <a:rPr lang="en-US"/>
              <a:t> </a:t>
            </a:r>
          </a:p>
          <a:p>
            <a:pPr>
              <a:defRPr/>
            </a:pPr>
            <a:r>
              <a:rPr lang="en-US"/>
              <a:t>If you are building an app using an AI model, you probably want to create an experience based on your own data, versus public web data. RAG is a way to incorporate your data into your </a:t>
            </a:r>
            <a:r>
              <a:rPr lang="en-US" err="1"/>
              <a:t>GenAI</a:t>
            </a:r>
            <a:r>
              <a:rPr lang="en-US"/>
              <a:t> application.</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ut of the box, an AI model has a limited set of knowledge. RAG enables your app to learn new facts or knowledge outside what the model was originally trained on. This way, your app isn’t limited to a static/outdated datas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 important point to note, that with RAG, the knowledge you provide is externalized, and not incorporated into the model itself. This ensures you remain in control of your data, at all times.</a:t>
            </a:r>
          </a:p>
          <a:p>
            <a:pPr>
              <a:defRPr/>
            </a:pPr>
            <a:endParaRPr lang="en-US"/>
          </a:p>
          <a:p>
            <a:pPr>
              <a:defRPr/>
            </a:pPr>
            <a:r>
              <a:rPr lang="en-US"/>
              <a:t>When implementing RAG, a critical component is the "Retrieval system" which surfaces the right information from your data, that's needed to answer any particular question or interaction. </a:t>
            </a:r>
          </a:p>
          <a:p>
            <a:pPr>
              <a:defRPr/>
            </a:pPr>
            <a:endParaRPr lang="en-US"/>
          </a:p>
          <a:p>
            <a:pPr>
              <a:defRPr/>
            </a:pPr>
            <a:r>
              <a:rPr lang="en-US"/>
              <a:t>From there, you use the language model like Azure OpenAI GPT to apply reasoning and produce a relevant response.</a:t>
            </a:r>
          </a:p>
          <a:p>
            <a:pPr>
              <a:defRPr/>
            </a:pPr>
            <a:endParaRPr lang="en-US"/>
          </a:p>
          <a:p>
            <a:pPr>
              <a:defRPr/>
            </a:pPr>
            <a:r>
              <a:rPr lang="en-US"/>
              <a:t>When customers build their </a:t>
            </a:r>
            <a:r>
              <a:rPr lang="en-US" err="1"/>
              <a:t>GenAI</a:t>
            </a:r>
            <a:r>
              <a:rPr lang="en-US"/>
              <a:t> applications, Azure AI Search is used as the "retrieval system" in their RAG stack.</a:t>
            </a:r>
          </a:p>
          <a:p>
            <a:pPr>
              <a:defRPr/>
            </a:pPr>
            <a:endParaRPr lang="en-US"/>
          </a:p>
          <a:p>
            <a:pPr>
              <a:defRPr/>
            </a:pPr>
            <a:endParaRPr lang="en-US"/>
          </a:p>
          <a:p>
            <a:pPr>
              <a:defRPr/>
            </a:pPr>
            <a:endParaRPr lang="en-US"/>
          </a:p>
          <a:p>
            <a:pPr>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BBE0D09-D30A-40CF-BEA9-771DFCB7639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48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ing your data with prompts is a powerful concept. In this example, a question-answering prompt is used with 3 distinct pieces. The prompt starts with framing, providing the Generative AI with the context it needs on how to behave. The user-provided question is clearly defined separate from the framing. Finally, clearly formatted sources are provided at the bottom of the prompt. The Generative AI synthesizes all this information together and produces a correct response.</a:t>
            </a:r>
            <a:br>
              <a:rPr lang="en-US"/>
            </a:br>
            <a:r>
              <a:rPr lang="en-US"/>
              <a:t>Note, this is just an example and you may want to consider thing in your prompt like instructions to reference citations in sources, </a:t>
            </a:r>
            <a:r>
              <a:rPr lang="en-US" err="1"/>
              <a:t>explitcly</a:t>
            </a:r>
            <a:r>
              <a:rPr lang="en-US"/>
              <a:t> stating “I don’t know” when the data is not in the data sources”, etc.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5 7:36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499240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is scenario where there's a highly relevant result, but it wasn't included in the top sources provided. In this case, the result is practically invisible to the system. This illustrates the significance of the retriever's role.</a:t>
            </a:r>
          </a:p>
          <a:p>
            <a:endParaRPr lang="en-US"/>
          </a:p>
          <a:p>
            <a:r>
              <a:rPr lang="en-US"/>
              <a:t>If the retriever fails to return the most relevant results, it directly affects the completeness and accuracy of the final answer. Remember, the RAG model relies heavily on the retriever to pull in the most pertinent documents or data to generate the best possible respons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5 7:36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80183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best practices when evaluating RAG:</a:t>
            </a:r>
          </a:p>
          <a:p>
            <a:endParaRPr lang="en-US"/>
          </a:p>
          <a:p>
            <a:pPr marL="171450" indent="-171450">
              <a:spcBef>
                <a:spcPts val="0"/>
              </a:spcBef>
              <a:spcAft>
                <a:spcPts val="600"/>
              </a:spcAft>
              <a:buFont typeface="Arial" panose="020B0604020202020204" pitchFamily="34" charset="0"/>
              <a:buChar char="•"/>
            </a:pPr>
            <a:r>
              <a:rPr lang="en-US" sz="1200">
                <a:latin typeface="+mn-lt"/>
              </a:rPr>
              <a:t>Model Evaluation: Evaluate your model regularly using various metrics to ensure it meets your desired outcomes.</a:t>
            </a:r>
          </a:p>
          <a:p>
            <a:pPr marL="171450" indent="-171450">
              <a:spcBef>
                <a:spcPts val="0"/>
              </a:spcBef>
              <a:spcAft>
                <a:spcPts val="600"/>
              </a:spcAft>
              <a:buFont typeface="Arial" panose="020B0604020202020204" pitchFamily="34" charset="0"/>
              <a:buChar char="•"/>
            </a:pPr>
            <a:r>
              <a:rPr lang="en-US" sz="1200">
                <a:latin typeface="+mn-lt"/>
              </a:rPr>
              <a:t>Understand User Intent: Classify user intents as navigational, informational, or transactional. This aids in tailoring responses effectively.</a:t>
            </a:r>
          </a:p>
          <a:p>
            <a:pPr marL="171450" indent="-171450">
              <a:spcBef>
                <a:spcPts val="0"/>
              </a:spcBef>
              <a:spcAft>
                <a:spcPts val="600"/>
              </a:spcAft>
              <a:buFont typeface="Arial" panose="020B0604020202020204" pitchFamily="34" charset="0"/>
              <a:buChar char="•"/>
            </a:pPr>
            <a:r>
              <a:rPr lang="en-US" sz="1200">
                <a:latin typeface="+mn-lt"/>
              </a:rPr>
              <a:t>Identify Query Types: Concept-seeking, fact-seeking, keyword, low query/doc term overlap, misspelled, long, medium, and short queries help uncover user intent and evaluate system performance.</a:t>
            </a:r>
          </a:p>
          <a:p>
            <a:pPr marL="171450" indent="-171450">
              <a:spcBef>
                <a:spcPts val="0"/>
              </a:spcBef>
              <a:spcAft>
                <a:spcPts val="600"/>
              </a:spcAft>
              <a:buFont typeface="Arial" panose="020B0604020202020204" pitchFamily="34" charset="0"/>
              <a:buChar char="•"/>
            </a:pPr>
            <a:r>
              <a:rPr lang="en-US" sz="1200">
                <a:latin typeface="+mn-lt"/>
              </a:rPr>
              <a:t>Use Comprehensive Metrics: Employ a mix of lexical-based (Precision and Recall, F1 Score, Word Error Rate), semantic-based (Semantic Textual Similarity, Word Embedding Similarity, BLEU), and combined metrics (ROUGE, </a:t>
            </a:r>
            <a:r>
              <a:rPr lang="en-US" sz="1200" err="1">
                <a:latin typeface="+mn-lt"/>
              </a:rPr>
              <a:t>BERTScore</a:t>
            </a:r>
            <a:r>
              <a:rPr lang="en-US" sz="1200">
                <a:latin typeface="+mn-lt"/>
              </a:rPr>
              <a:t>) for a holistic evaluation.</a:t>
            </a:r>
          </a:p>
          <a:p>
            <a:pPr marL="171450" indent="-171450">
              <a:spcBef>
                <a:spcPts val="0"/>
              </a:spcBef>
              <a:spcAft>
                <a:spcPts val="600"/>
              </a:spcAft>
              <a:buFont typeface="Arial" panose="020B0604020202020204" pitchFamily="34" charset="0"/>
              <a:buChar char="•"/>
            </a:pPr>
            <a:r>
              <a:rPr lang="en-US" sz="1200">
                <a:latin typeface="+mn-lt"/>
              </a:rPr>
              <a:t>Keep in mind top K (@K) retrieved Chunks:  Granular perspective on how many Chunks to retrieve.</a:t>
            </a:r>
          </a:p>
          <a:p>
            <a:pPr marL="171450" indent="-171450">
              <a:spcBef>
                <a:spcPts val="0"/>
              </a:spcBef>
              <a:spcAft>
                <a:spcPts val="600"/>
              </a:spcAft>
              <a:buFont typeface="Arial" panose="020B0604020202020204" pitchFamily="34" charset="0"/>
              <a:buChar char="•"/>
            </a:pPr>
            <a:r>
              <a:rPr lang="en-US" sz="1200">
                <a:latin typeface="+mn-lt"/>
              </a:rPr>
              <a:t>Implement Ranking Metrics: Utilize </a:t>
            </a:r>
            <a:r>
              <a:rPr lang="en-US" sz="1200" err="1">
                <a:latin typeface="+mn-lt"/>
              </a:rPr>
              <a:t>Recall@K</a:t>
            </a:r>
            <a:r>
              <a:rPr lang="en-US" sz="1200">
                <a:latin typeface="+mn-lt"/>
              </a:rPr>
              <a:t>, Mean Reciprocal Rank, Mean Average </a:t>
            </a:r>
            <a:r>
              <a:rPr lang="en-US" sz="1200" err="1">
                <a:latin typeface="+mn-lt"/>
              </a:rPr>
              <a:t>Precision@K</a:t>
            </a:r>
            <a:r>
              <a:rPr lang="en-US" sz="1200">
                <a:latin typeface="+mn-lt"/>
              </a:rPr>
              <a:t>, and Normalized Discounted Cumulative Gain for assessing the ranking quality of the system.</a:t>
            </a:r>
          </a:p>
          <a:p>
            <a:pPr marL="171450" indent="-171450">
              <a:spcBef>
                <a:spcPts val="0"/>
              </a:spcBef>
              <a:spcAft>
                <a:spcPts val="600"/>
              </a:spcAft>
              <a:buFont typeface="Arial" panose="020B0604020202020204" pitchFamily="34" charset="0"/>
              <a:buChar char="•"/>
            </a:pPr>
            <a:r>
              <a:rPr lang="en-US" sz="1200">
                <a:latin typeface="+mn-lt"/>
              </a:rPr>
              <a:t>Regularly Monitor Performance: Continuously track and optimize the system's performance using these metrics to ensure the highest level of user satisfaction and system effectiveness.</a:t>
            </a:r>
          </a:p>
          <a:p>
            <a:pPr marL="171450" indent="-171450">
              <a:spcBef>
                <a:spcPts val="0"/>
              </a:spcBef>
              <a:spcAft>
                <a:spcPts val="600"/>
              </a:spcAft>
              <a:buFont typeface="Arial" panose="020B0604020202020204" pitchFamily="34" charset="0"/>
              <a:buChar char="•"/>
            </a:pPr>
            <a:r>
              <a:rPr lang="en-US" sz="1200">
                <a:latin typeface="+mn-lt"/>
              </a:rPr>
              <a:t>User Feedback: Incorporate user feedback to improve system for utility.</a:t>
            </a:r>
          </a:p>
          <a:p>
            <a:pPr>
              <a:spcBef>
                <a:spcPts val="0"/>
              </a:spcBef>
              <a:spcAft>
                <a:spcPts val="600"/>
              </a:spcAft>
            </a:pPr>
            <a:endParaRPr lang="en-US" sz="1200">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latin typeface="+mn-lt"/>
              </a:rPr>
              <a:t>Azure’s RAG Evaluation tool: </a:t>
            </a:r>
            <a:r>
              <a:rPr lang="en-US" sz="1200">
                <a:latin typeface="+mn-lt"/>
                <a:hlinkClick r:id="rId3"/>
              </a:rPr>
              <a:t>Azure ML Prompt Flow</a:t>
            </a:r>
            <a:r>
              <a:rPr lang="en-US" sz="1200">
                <a:latin typeface="+mn-lt"/>
              </a:rPr>
              <a:t>!</a:t>
            </a:r>
          </a:p>
          <a:p>
            <a:pPr>
              <a:spcBef>
                <a:spcPts val="0"/>
              </a:spcBef>
              <a:spcAft>
                <a:spcPts val="600"/>
              </a:spcAft>
            </a:pPr>
            <a:endParaRPr lang="en-US" sz="1200">
              <a:latin typeface="+mn-lt"/>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5 7:36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751335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have a summary of RAG anatomy. this is a process involving several steps to facilitate efficient data retrieval and user interaction.</a:t>
            </a:r>
          </a:p>
          <a:p>
            <a:endParaRPr lang="en-US"/>
          </a:p>
          <a:p>
            <a:r>
              <a:rPr lang="en-US"/>
              <a:t>1. Data ingestion and preparation: This is the initial stage where data is collected and prepared for further processing. It involves collecting data from various sources, cleaning and organizing it for further use.</a:t>
            </a:r>
          </a:p>
          <a:p>
            <a:endParaRPr lang="en-US"/>
          </a:p>
          <a:p>
            <a:r>
              <a:rPr lang="en-US"/>
              <a:t>2. Chunking: This is a process of breaking down the data into manageable pieces or 'Chunks'. This allows for easier processing and analysis of the information, and to respect the maximum inputs of AI models.</a:t>
            </a:r>
          </a:p>
          <a:p>
            <a:endParaRPr lang="en-US"/>
          </a:p>
          <a:p>
            <a:r>
              <a:rPr lang="en-US"/>
              <a:t>3. Indexing: This step involves transforming data and using vector embeddings to create an AI search index. The idea is to map and organize the data in a way that makes it easily searchable. Vector embeddings are used to represent words or phrases in a numerical form that can be compared for similarity. Questions like whether to do data transformation, use vector embeddings, or any indexing mappings are addressed in this phase.</a:t>
            </a:r>
          </a:p>
          <a:p>
            <a:endParaRPr lang="en-US"/>
          </a:p>
          <a:p>
            <a:r>
              <a:rPr lang="en-US"/>
              <a:t>4. User Interface: This is the point of interaction between the user and the AI system. Here, users can input their queries to the chatbot, which uses Natural Language Processing (NLP) and the previously processed data to provide accurate and relevant responses.</a:t>
            </a:r>
          </a:p>
          <a:p>
            <a:endParaRPr lang="en-US"/>
          </a:p>
          <a:p>
            <a:r>
              <a:rPr lang="en-US"/>
              <a:t>5. Orchestration (Including prompt): This involves prompting the Language Model (LLM) to generate the retriever query. The system is prepared to ask specific questions based on the user's initial query and communicates with the retriever to get the most relevant responses.</a:t>
            </a:r>
          </a:p>
          <a:p>
            <a:endParaRPr lang="en-US"/>
          </a:p>
          <a:p>
            <a:r>
              <a:rPr lang="en-US"/>
              <a:t>6. Data Retrieving: This step involves deciding on the type of approach to use for data retrieval - vector, semantic, keyword or a hybrid approach. It also involves deciding on the use of filters, facets, scoring profiles and determining the number of results to be used.</a:t>
            </a:r>
          </a:p>
          <a:p>
            <a:endParaRPr lang="en-US"/>
          </a:p>
          <a:p>
            <a:r>
              <a:rPr lang="en-US"/>
              <a:t>7. Orchestration: After retrieving the data, it is once again communicated and coordinated with the LLM.  The LLM is prompted to summarize the retrieved data and create a response that will be returned to the user. This response should contain the most relevant sections replied by the retriever (AI search).</a:t>
            </a: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For steps 2 and 3 highlighted in green, AI Studio, Azure OAI on your data and AI Search can help for many scenarios with the Chunking, Vectorization and data enrichment/transformation if needed and finally data index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5 7:36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78244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61EC6-73C2-A8C5-B4A4-2E52A193BB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D27DA9-78DD-1059-497A-26B3676459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47DAD-CC9B-3628-447E-EAD33A023D68}"/>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55E787E8-C482-45D0-296B-5EF5C5AB65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4542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5B714-745D-EA32-4EA1-0DCD609C3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7CBE16-9E53-FD56-FD40-AD0AA596A3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1F3C80-EA27-858F-AC18-445A46E4710F}"/>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0D858DE2-8F85-312A-6793-1EAE96F961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8787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EB2D1-47F0-7663-9977-6C017675B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8447C-37AE-2A09-A8C2-14B5E9FFCC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1199A-4CC9-F044-ABD6-CBAFE9AD8B3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C2DC00F-E48B-FFC8-FD3E-B358BD31BD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5757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3267-8370-A2FF-AF67-5DE436BC1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00605-B797-D7DE-E090-6AB2A5109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C3F9F-A591-F88B-3A1C-6B2C6F12A9BA}"/>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E5ADD343-96FE-AF13-0BAB-FD11458DC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279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amp; Intro – Dave  </a:t>
            </a:r>
          </a:p>
          <a:p>
            <a:r>
              <a:rPr lang="en-US"/>
              <a:t>Setting the Stage - James &amp; Lali</a:t>
            </a:r>
          </a:p>
          <a:p>
            <a:r>
              <a:rPr lang="en-US"/>
              <a:t>Show &amp; Tell - Amul</a:t>
            </a:r>
          </a:p>
        </p:txBody>
      </p:sp>
      <p:sp>
        <p:nvSpPr>
          <p:cNvPr id="4" name="Slide Number Placeholder 3"/>
          <p:cNvSpPr>
            <a:spLocks noGrp="1"/>
          </p:cNvSpPr>
          <p:nvPr>
            <p:ph type="sldNum" sz="quarter" idx="5"/>
          </p:nvPr>
        </p:nvSpPr>
        <p:spPr/>
        <p:txBody>
          <a:bodyPr/>
          <a:lstStyle/>
          <a:p>
            <a:fld id="{2DCF94EB-0F90-4CAF-A60C-B21A127C6FAA}" type="slidenum">
              <a:rPr lang="en-US" smtClean="0"/>
              <a:t>6</a:t>
            </a:fld>
            <a:endParaRPr lang="en-US"/>
          </a:p>
        </p:txBody>
      </p:sp>
    </p:spTree>
    <p:extLst>
      <p:ext uri="{BB962C8B-B14F-4D97-AF65-F5344CB8AC3E}">
        <p14:creationId xmlns:p14="http://schemas.microsoft.com/office/powerpoint/2010/main" val="3102549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4" Type="http://schemas.openxmlformats.org/officeDocument/2006/relationships/image" Target="../media/image73.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8.xml"/><Relationship Id="rId5" Type="http://schemas.openxmlformats.org/officeDocument/2006/relationships/image" Target="../media/image83.png"/><Relationship Id="rId4" Type="http://schemas.openxmlformats.org/officeDocument/2006/relationships/image" Target="../media/image5.emf"/></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jpe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 Id="rId4" Type="http://schemas.openxmlformats.org/officeDocument/2006/relationships/image" Target="../media/image83.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6.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84378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52120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767110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05911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34274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54742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33818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08243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5946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159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623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878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410078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1885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10040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60634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514459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957561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291551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63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951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3052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85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38105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5803079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42767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302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4129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0635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209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83040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164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9227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9542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8026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0219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18300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613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36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908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2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04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227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31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00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9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768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7334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94131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885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93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23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5262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72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06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17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1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54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0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781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045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68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609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2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482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1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203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55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80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8325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46708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04578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bg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24448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498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553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49394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60865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9381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28251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72145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9622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159998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367346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115124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647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Quote author</a:t>
            </a:r>
          </a:p>
        </p:txBody>
      </p:sp>
    </p:spTree>
    <p:extLst>
      <p:ext uri="{BB962C8B-B14F-4D97-AF65-F5344CB8AC3E}">
        <p14:creationId xmlns:p14="http://schemas.microsoft.com/office/powerpoint/2010/main" val="294439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5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62107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80406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13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0098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4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3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40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10410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295986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3554F-AA2D-B346-7744-128B71383C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FCEF67-5B91-EFF4-0EDA-FEA8C457A4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CDF190-C6BA-B691-6A1E-E3C20EB0FF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FFFD98-AE07-2EF5-6B24-5A08935AE1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7B50D5-5065-1A22-08D3-039A2AF9F3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386C2B-39FF-8272-BED8-6CE40FFDAD60}"/>
              </a:ext>
            </a:extLst>
          </p:cNvPr>
          <p:cNvSpPr>
            <a:spLocks noGrp="1"/>
          </p:cNvSpPr>
          <p:nvPr>
            <p:ph type="dt" sz="half" idx="10"/>
          </p:nvPr>
        </p:nvSpPr>
        <p:spPr/>
        <p:txBody>
          <a:bodyPr/>
          <a:lstStyle/>
          <a:p>
            <a:fld id="{9EF63F95-0414-4862-AD24-08EF55CE96CE}" type="datetimeFigureOut">
              <a:rPr lang="en-US" smtClean="0"/>
              <a:t>2/18/2025</a:t>
            </a:fld>
            <a:endParaRPr lang="en-US"/>
          </a:p>
        </p:txBody>
      </p:sp>
      <p:sp>
        <p:nvSpPr>
          <p:cNvPr id="8" name="Footer Placeholder 7">
            <a:extLst>
              <a:ext uri="{FF2B5EF4-FFF2-40B4-BE49-F238E27FC236}">
                <a16:creationId xmlns:a16="http://schemas.microsoft.com/office/drawing/2014/main" id="{D49D7B81-E03A-AE11-A398-3B37F008F2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B5D8A3B-BDE4-84A4-F457-9CE4FDFB2533}"/>
              </a:ext>
            </a:extLst>
          </p:cNvPr>
          <p:cNvSpPr>
            <a:spLocks noGrp="1"/>
          </p:cNvSpPr>
          <p:nvPr>
            <p:ph type="sldNum" sz="quarter" idx="12"/>
          </p:nvPr>
        </p:nvSpPr>
        <p:spPr/>
        <p:txBody>
          <a:bodyPr/>
          <a:lstStyle/>
          <a:p>
            <a:fld id="{859EA4DC-1560-4C82-8F65-72992A8FC9F6}" type="slidenum">
              <a:rPr lang="en-US" smtClean="0"/>
              <a:t>‹#›</a:t>
            </a:fld>
            <a:endParaRPr lang="en-US"/>
          </a:p>
        </p:txBody>
      </p:sp>
    </p:spTree>
    <p:extLst>
      <p:ext uri="{BB962C8B-B14F-4D97-AF65-F5344CB8AC3E}">
        <p14:creationId xmlns:p14="http://schemas.microsoft.com/office/powerpoint/2010/main" val="30777094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1329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698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675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7891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34362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93656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1359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07434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30824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83765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1917542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2187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86518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77313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1947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5862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5977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06134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639911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472906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96697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3323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5866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68435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2/18/2025</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6113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65070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39373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1952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9920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60997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6440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3355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0451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71420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2447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4981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88621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2146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0841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2205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1983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032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06430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86252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017320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361185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769972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681547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127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77641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38633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3391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7279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295889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1944943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61165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4278847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891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218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28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667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625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8484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54526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58601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58851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666690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34008517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6473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6836097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lnSpc>
                <a:spcPct val="90000"/>
              </a:lnSpc>
              <a:defRPr sz="4000">
                <a:solidFill>
                  <a:schemeClr val="tx1"/>
                </a:solidFill>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34024106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6421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ogo">
    <p:bg>
      <p:bgRef idx="1001">
        <a:schemeClr val="bg1"/>
      </p:bgRef>
    </p:bg>
    <p:spTree>
      <p:nvGrpSpPr>
        <p:cNvPr id="1" name=""/>
        <p:cNvGrpSpPr/>
        <p:nvPr/>
      </p:nvGrpSpPr>
      <p:grpSpPr>
        <a:xfrm>
          <a:off x="0" y="0"/>
          <a:ext cx="0" cy="0"/>
          <a:chOff x="0" y="0"/>
          <a:chExt cx="0" cy="0"/>
        </a:xfrm>
      </p:grpSpPr>
      <p:pic>
        <p:nvPicPr>
          <p:cNvPr id="8" name="Picture 7" descr="A person flying a parachute over a large wave&#10;&#10;Description automatically generated">
            <a:extLst>
              <a:ext uri="{FF2B5EF4-FFF2-40B4-BE49-F238E27FC236}">
                <a16:creationId xmlns:a16="http://schemas.microsoft.com/office/drawing/2014/main" id="{3C6A0333-3F31-0CB3-1D3D-EAD5DBFD4B3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 r="17723" b="1"/>
          <a:stretch/>
        </p:blipFill>
        <p:spPr>
          <a:xfrm>
            <a:off x="0" y="1"/>
            <a:ext cx="12192000" cy="6857998"/>
          </a:xfrm>
          <a:prstGeom prst="rect">
            <a:avLst/>
          </a:prstGeom>
        </p:spPr>
      </p:pic>
      <p:sp>
        <p:nvSpPr>
          <p:cNvPr id="11" name="Rectangle 10">
            <a:extLst>
              <a:ext uri="{FF2B5EF4-FFF2-40B4-BE49-F238E27FC236}">
                <a16:creationId xmlns:a16="http://schemas.microsoft.com/office/drawing/2014/main" id="{C6A6BA93-5655-2490-3F45-ABF7C27BCA7A}"/>
              </a:ext>
            </a:extLst>
          </p:cNvPr>
          <p:cNvSpPr/>
          <p:nvPr userDrawn="1"/>
        </p:nvSpPr>
        <p:spPr bwMode="auto">
          <a:xfrm>
            <a:off x="-1" y="0"/>
            <a:ext cx="12191999" cy="6858000"/>
          </a:xfrm>
          <a:prstGeom prst="rect">
            <a:avLst/>
          </a:prstGeom>
          <a:gradFill flip="none" rotWithShape="1">
            <a:gsLst>
              <a:gs pos="0">
                <a:srgbClr val="091F2C"/>
              </a:gs>
              <a:gs pos="49000">
                <a:srgbClr val="091F2C">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descr="A white and blue logo&#10;&#10;Description automatically generated">
            <a:extLst>
              <a:ext uri="{FF2B5EF4-FFF2-40B4-BE49-F238E27FC236}">
                <a16:creationId xmlns:a16="http://schemas.microsoft.com/office/drawing/2014/main" id="{F620DBDF-DC5F-FACE-63D4-92787CCE16DD}"/>
              </a:ext>
            </a:extLst>
          </p:cNvPr>
          <p:cNvPicPr>
            <a:picLocks noChangeAspect="1"/>
          </p:cNvPicPr>
          <p:nvPr userDrawn="1"/>
        </p:nvPicPr>
        <p:blipFill>
          <a:blip r:embed="rId3"/>
          <a:stretch>
            <a:fillRect/>
          </a:stretch>
        </p:blipFill>
        <p:spPr>
          <a:xfrm>
            <a:off x="571500" y="4409754"/>
            <a:ext cx="5928372" cy="1859284"/>
          </a:xfrm>
          <a:prstGeom prst="rect">
            <a:avLst/>
          </a:prstGeom>
        </p:spPr>
      </p:pic>
    </p:spTree>
    <p:extLst>
      <p:ext uri="{BB962C8B-B14F-4D97-AF65-F5344CB8AC3E}">
        <p14:creationId xmlns:p14="http://schemas.microsoft.com/office/powerpoint/2010/main" val="226599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A wave in the ocean&#10;&#10;Description automatically generated">
            <a:extLst>
              <a:ext uri="{FF2B5EF4-FFF2-40B4-BE49-F238E27FC236}">
                <a16:creationId xmlns:a16="http://schemas.microsoft.com/office/drawing/2014/main" id="{2DC1664B-827B-C615-8156-E53EFE68D5E8}"/>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l="14987" r="16814"/>
          <a:stretch/>
        </p:blipFill>
        <p:spPr>
          <a:xfrm>
            <a:off x="-1" y="0"/>
            <a:ext cx="12192001" cy="6868168"/>
          </a:xfrm>
          <a:prstGeom prst="rect">
            <a:avLst/>
          </a:prstGeom>
        </p:spPr>
      </p:pic>
      <p:sp>
        <p:nvSpPr>
          <p:cNvPr id="20" name="Rectangle 19">
            <a:extLst>
              <a:ext uri="{FF2B5EF4-FFF2-40B4-BE49-F238E27FC236}">
                <a16:creationId xmlns:a16="http://schemas.microsoft.com/office/drawing/2014/main" id="{B266E641-7310-BE8E-2098-CC22FC0409E5}"/>
              </a:ext>
            </a:extLst>
          </p:cNvPr>
          <p:cNvSpPr/>
          <p:nvPr userDrawn="1"/>
        </p:nvSpPr>
        <p:spPr bwMode="auto">
          <a:xfrm>
            <a:off x="1" y="0"/>
            <a:ext cx="12191999" cy="6858000"/>
          </a:xfrm>
          <a:prstGeom prst="rect">
            <a:avLst/>
          </a:prstGeom>
          <a:gradFill flip="none" rotWithShape="1">
            <a:gsLst>
              <a:gs pos="0">
                <a:srgbClr val="091F2C">
                  <a:alpha val="25000"/>
                </a:srgbClr>
              </a:gs>
              <a:gs pos="53000">
                <a:srgbClr val="091F2C">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6DE36F0-B13B-4542-E7D6-3F79E3DE4C8D}"/>
              </a:ext>
            </a:extLst>
          </p:cNvPr>
          <p:cNvSpPr/>
          <p:nvPr userDrawn="1"/>
        </p:nvSpPr>
        <p:spPr bwMode="auto">
          <a:xfrm>
            <a:off x="0" y="0"/>
            <a:ext cx="10478348" cy="6858000"/>
          </a:xfrm>
          <a:prstGeom prst="rect">
            <a:avLst/>
          </a:prstGeom>
          <a:gradFill>
            <a:gsLst>
              <a:gs pos="50000">
                <a:srgbClr val="091F2C">
                  <a:alpha val="64983"/>
                </a:srgbClr>
              </a:gs>
              <a:gs pos="0">
                <a:srgbClr val="091F2C"/>
              </a:gs>
              <a:gs pos="100000">
                <a:srgbClr val="091F2C">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arachute with a black background&#10;&#10;Description automatically generated">
            <a:extLst>
              <a:ext uri="{FF2B5EF4-FFF2-40B4-BE49-F238E27FC236}">
                <a16:creationId xmlns:a16="http://schemas.microsoft.com/office/drawing/2014/main" id="{CC055EE1-8213-72AA-DA45-0D2EBA335EEA}"/>
              </a:ext>
            </a:extLst>
          </p:cNvPr>
          <p:cNvPicPr>
            <a:picLocks noChangeAspect="1"/>
          </p:cNvPicPr>
          <p:nvPr userDrawn="1"/>
        </p:nvPicPr>
        <p:blipFill>
          <a:blip r:embed="rId3"/>
          <a:stretch>
            <a:fillRect/>
          </a:stretch>
        </p:blipFill>
        <p:spPr>
          <a:xfrm rot="20788666">
            <a:off x="10447861" y="1230345"/>
            <a:ext cx="1340327" cy="1864802"/>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21" name="Picture 20" descr="A white and blue logo&#10;&#10;Description automatically generated">
            <a:extLst>
              <a:ext uri="{FF2B5EF4-FFF2-40B4-BE49-F238E27FC236}">
                <a16:creationId xmlns:a16="http://schemas.microsoft.com/office/drawing/2014/main" id="{52205E4F-8268-8C59-6E15-D2B379AFC0C1}"/>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1830828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1"/>
      </p:bgRef>
    </p:bg>
    <p:spTree>
      <p:nvGrpSpPr>
        <p:cNvPr id="1" name=""/>
        <p:cNvGrpSpPr/>
        <p:nvPr/>
      </p:nvGrpSpPr>
      <p:grpSpPr>
        <a:xfrm>
          <a:off x="0" y="0"/>
          <a:ext cx="0" cy="0"/>
          <a:chOff x="0" y="0"/>
          <a:chExt cx="0" cy="0"/>
        </a:xfrm>
      </p:grpSpPr>
      <p:pic>
        <p:nvPicPr>
          <p:cNvPr id="4" name="Picture 3" descr="A person climbing a rock&#10;&#10;Description automatically generated">
            <a:extLst>
              <a:ext uri="{FF2B5EF4-FFF2-40B4-BE49-F238E27FC236}">
                <a16:creationId xmlns:a16="http://schemas.microsoft.com/office/drawing/2014/main" id="{860BD3FD-A22F-32B7-3FD5-02AE685C2CF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2C1D95-15C5-BF19-11D0-28485F87E699}"/>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294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020E"/>
        </a:solidFill>
        <a:effectLst/>
      </p:bgPr>
    </p:bg>
    <p:spTree>
      <p:nvGrpSpPr>
        <p:cNvPr id="1" name=""/>
        <p:cNvGrpSpPr/>
        <p:nvPr/>
      </p:nvGrpSpPr>
      <p:grpSpPr>
        <a:xfrm>
          <a:off x="0" y="0"/>
          <a:ext cx="0" cy="0"/>
          <a:chOff x="0" y="0"/>
          <a:chExt cx="0" cy="0"/>
        </a:xfrm>
      </p:grpSpPr>
      <p:pic>
        <p:nvPicPr>
          <p:cNvPr id="6" name="Picture 5" descr="A person on a snowboard jumping&#10;&#10;Description automatically generated">
            <a:extLst>
              <a:ext uri="{FF2B5EF4-FFF2-40B4-BE49-F238E27FC236}">
                <a16:creationId xmlns:a16="http://schemas.microsoft.com/office/drawing/2014/main" id="{9B67CB32-A1D7-7531-DE88-8EF27CB635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652118" y="0"/>
            <a:ext cx="8539882" cy="6858000"/>
          </a:xfrm>
          <a:prstGeom prst="rect">
            <a:avLst/>
          </a:prstGeom>
        </p:spPr>
      </p:pic>
      <p:sp>
        <p:nvSpPr>
          <p:cNvPr id="8" name="Rectangle 7">
            <a:extLst>
              <a:ext uri="{FF2B5EF4-FFF2-40B4-BE49-F238E27FC236}">
                <a16:creationId xmlns:a16="http://schemas.microsoft.com/office/drawing/2014/main" id="{BBB1A7C9-4430-8D63-B3E2-5382A4C66856}"/>
              </a:ext>
            </a:extLst>
          </p:cNvPr>
          <p:cNvSpPr/>
          <p:nvPr userDrawn="1"/>
        </p:nvSpPr>
        <p:spPr bwMode="auto">
          <a:xfrm>
            <a:off x="3652118" y="0"/>
            <a:ext cx="1624075" cy="6858000"/>
          </a:xfrm>
          <a:prstGeom prst="rect">
            <a:avLst/>
          </a:prstGeom>
          <a:gradFill flip="none" rotWithShape="1">
            <a:gsLst>
              <a:gs pos="0">
                <a:srgbClr val="00020E"/>
              </a:gs>
              <a:gs pos="86000">
                <a:srgbClr val="00020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8" name="Picture 17" descr="A white and blue logo&#10;&#10;Description automatically generated">
            <a:extLst>
              <a:ext uri="{FF2B5EF4-FFF2-40B4-BE49-F238E27FC236}">
                <a16:creationId xmlns:a16="http://schemas.microsoft.com/office/drawing/2014/main" id="{665CF665-3254-E209-0317-62D8CBB9CEF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359653"/>
            <a:ext cx="3204779" cy="1005098"/>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062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20E"/>
        </a:solidFill>
        <a:effectLst/>
      </p:bgPr>
    </p:bg>
    <p:spTree>
      <p:nvGrpSpPr>
        <p:cNvPr id="1" name=""/>
        <p:cNvGrpSpPr/>
        <p:nvPr/>
      </p:nvGrpSpPr>
      <p:grpSpPr>
        <a:xfrm>
          <a:off x="0" y="0"/>
          <a:ext cx="0" cy="0"/>
          <a:chOff x="0" y="0"/>
          <a:chExt cx="0" cy="0"/>
        </a:xfrm>
      </p:grpSpPr>
      <p:pic>
        <p:nvPicPr>
          <p:cNvPr id="3" name="Picture 2" descr="A person climbing a rock&#10;&#10;Description automatically generated">
            <a:extLst>
              <a:ext uri="{FF2B5EF4-FFF2-40B4-BE49-F238E27FC236}">
                <a16:creationId xmlns:a16="http://schemas.microsoft.com/office/drawing/2014/main" id="{525A1C4C-EA97-FDEE-FE26-18605D791C1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A9E5298-12EA-3F93-BBAD-0EDFAEA4C2E8}"/>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white and blue logo&#10;&#10;Description automatically generated">
            <a:extLst>
              <a:ext uri="{FF2B5EF4-FFF2-40B4-BE49-F238E27FC236}">
                <a16:creationId xmlns:a16="http://schemas.microsoft.com/office/drawing/2014/main" id="{8FA30398-0FC0-294A-80EE-89137E8315D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3158243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644D2A-98E6-741D-32B1-B3A9F1A41C0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415721" y="5355504"/>
            <a:ext cx="3208719" cy="1006333"/>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D066375C-DE83-22D7-32E6-A6940F9CF0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05761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blue and black logo&#10;&#10;Description automatically generated">
            <a:extLst>
              <a:ext uri="{FF2B5EF4-FFF2-40B4-BE49-F238E27FC236}">
                <a16:creationId xmlns:a16="http://schemas.microsoft.com/office/drawing/2014/main" id="{966D342F-FACD-8DC3-D12D-423461DEC18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2126331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321BD456-98EC-5155-EE50-6C72830E86C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766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E6C6A68F-701F-C515-39E0-DB414EBDD9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0732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9DED4E15-93DE-8B6F-6C4B-BAA3AE0387C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73309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D2021C02-52CE-F52E-3A14-5051B229B8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4333526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blue and black logo&#10;&#10;Description automatically generated">
            <a:extLst>
              <a:ext uri="{FF2B5EF4-FFF2-40B4-BE49-F238E27FC236}">
                <a16:creationId xmlns:a16="http://schemas.microsoft.com/office/drawing/2014/main" id="{87241772-1BC3-D489-A861-37677E2FC0C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293478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2FE0099E-EE36-0FDC-5DA7-6905BD986F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414400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solidFill>
                  <a:schemeClr val="accent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solidFill>
                  <a:schemeClr val="accent1"/>
                </a:soli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AFC4CB7F-1B3A-A65D-9BC1-CCCB6123275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6449181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0B495C1D-B898-4B4E-E4D9-F5D515E4511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7717030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white background with wavy lines&#10;&#10;Description automatically generated">
            <a:extLst>
              <a:ext uri="{FF2B5EF4-FFF2-40B4-BE49-F238E27FC236}">
                <a16:creationId xmlns:a16="http://schemas.microsoft.com/office/drawing/2014/main" id="{71A1A67B-3DB3-7C5C-5A62-F7121EB66EC9}"/>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018" t="21250" r="8859" b="5437"/>
          <a:stretch/>
        </p:blipFill>
        <p:spPr>
          <a:xfrm flipH="1" flipV="1">
            <a:off x="0" y="0"/>
            <a:ext cx="1222492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500A92E2-F214-597B-C975-5297DA2E704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808129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D74200AB-46B3-C777-EA79-E5B7FF7089D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85177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427A1A8D-AE7C-8AC4-41C9-77179C5A9EE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839945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19456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BB962914-1A0F-3D79-AF53-FDA6926021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853959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4920932"/>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CB2ED6C-56A0-4B8D-FE0A-144556C650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904839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9883325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718320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8000">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97172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870257"/>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E2E79D3-62B1-E90F-3614-F275E62BDF8E}"/>
              </a:ext>
            </a:extLst>
          </p:cNvPr>
          <p:cNvSpPr>
            <a:spLocks noGrp="1"/>
          </p:cNvSpPr>
          <p:nvPr>
            <p:ph type="pic" sz="quarter" idx="12" hasCustomPrompt="1"/>
          </p:nvPr>
        </p:nvSpPr>
        <p:spPr bwMode="ltGray">
          <a:xfrm>
            <a:off x="-2381" y="0"/>
            <a:ext cx="12192000" cy="5419725"/>
          </a:xfrm>
          <a:gradFill flip="none" rotWithShape="1">
            <a:gsLst>
              <a:gs pos="48000">
                <a:schemeClr val="accent1"/>
              </a:gs>
              <a:gs pos="100000">
                <a:srgbClr val="8DC8E8"/>
              </a:gs>
              <a:gs pos="60000">
                <a:schemeClr val="accent1"/>
              </a:gs>
            </a:gsLst>
            <a:lin ang="18900000" scaled="1"/>
            <a:tileRect/>
          </a:gradFill>
        </p:spPr>
        <p:txBody>
          <a:bodyPr vert="horz" wrap="square" lIns="0" tIns="1280160" rIns="0" bIns="0" rtlCol="0" anchor="t" anchorCtr="0">
            <a:noAutofit/>
          </a:bodyPr>
          <a:lstStyle>
            <a:lvl1pPr>
              <a:defRPr lang="en-US" sz="1400" b="1" dirty="0">
                <a:solidFill>
                  <a:schemeClr val="bg1"/>
                </a:solidFill>
              </a:defRPr>
            </a:lvl1pPr>
          </a:lstStyle>
          <a:p>
            <a:pPr lvl="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2931769F-1326-1ACC-7A62-FAFDEC98C0A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946220"/>
            <a:ext cx="1311493" cy="340516"/>
          </a:xfrm>
          <a:prstGeom prst="rect">
            <a:avLst/>
          </a:prstGeom>
        </p:spPr>
      </p:pic>
    </p:spTree>
    <p:extLst>
      <p:ext uri="{BB962C8B-B14F-4D97-AF65-F5344CB8AC3E}">
        <p14:creationId xmlns:p14="http://schemas.microsoft.com/office/powerpoint/2010/main" val="26211558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438274"/>
            <a:ext cx="12192000" cy="5419725"/>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1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3" name="Picture 2" descr="A blue and black logo&#10;&#10;Description automatically generated">
            <a:extLst>
              <a:ext uri="{FF2B5EF4-FFF2-40B4-BE49-F238E27FC236}">
                <a16:creationId xmlns:a16="http://schemas.microsoft.com/office/drawing/2014/main" id="{6A026403-4EBE-C5BC-D739-D2DC5EA8FB0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0489899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C69F239-31DE-2624-BF1B-B5D1F035D31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089426029"/>
      </p:ext>
    </p:extLst>
  </p:cSld>
  <p:clrMapOvr>
    <a:masterClrMapping/>
  </p:clrMapOvr>
  <p:transition>
    <p:fade/>
  </p:transition>
  <p:extLst>
    <p:ext uri="{DCECCB84-F9BA-43D5-87BE-67443E8EF086}">
      <p15:sldGuideLst xmlns:p15="http://schemas.microsoft.com/office/powerpoint/2012/main">
        <p15:guide id="5" orient="horz" pos="312">
          <p15:clr>
            <a:srgbClr val="5ACBF0"/>
          </p15:clr>
        </p15:guide>
        <p15:guide id="6" pos="3749">
          <p15:clr>
            <a:srgbClr val="5ACBF0"/>
          </p15:clr>
        </p15:guide>
        <p15:guide id="7" pos="3931">
          <p15:clr>
            <a:srgbClr val="5ACBF0"/>
          </p15:clr>
        </p15:guide>
        <p15:guide id="9" orient="horz" pos="9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2/18/2025</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572EBB8-0DB4-1094-218E-22E9AB058D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962992121"/>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80B3C1C-6CFE-131B-792C-647DF9CE67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142539420"/>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481513"/>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4481513"/>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39A8762A-F5F7-1DB2-86EB-1BFD8B7902C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94694246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53368"/>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3952177"/>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3952178"/>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EF103D3C-D4C0-3A7F-9430-56A338D4D5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523739912"/>
      </p:ext>
    </p:extLst>
  </p:cSld>
  <p:clrMapOvr>
    <a:masterClrMapping/>
  </p:clrMapOvr>
  <p:transition>
    <p:fade/>
  </p:transition>
  <p:extLst>
    <p:ext uri="{DCECCB84-F9BA-43D5-87BE-67443E8EF086}">
      <p15:sldGuideLst xmlns:p15="http://schemas.microsoft.com/office/powerpoint/2012/main">
        <p15:guide id="1" orient="horz" pos="900">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6740"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48113"/>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3946922"/>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3946923"/>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3946922"/>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5" name="Picture 4" descr="A blue and black logo&#10;&#10;Description automatically generated">
            <a:extLst>
              <a:ext uri="{FF2B5EF4-FFF2-40B4-BE49-F238E27FC236}">
                <a16:creationId xmlns:a16="http://schemas.microsoft.com/office/drawing/2014/main" id="{1146C6E0-F407-6D49-F8D2-433B2EFCD67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1197554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457200"/>
            <a:ext cx="11019538"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3948113"/>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3946922"/>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3946923"/>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5E7B2967-59B9-01B8-C15F-8EA271514BC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3562693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A1AA094F-0960-DA4E-E070-9861AC68DF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20408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50E767AA-D591-524C-8B52-4466E5C7D61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555469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0DEC6920-08BA-F198-6FF4-962983E4F27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6940897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869892"/>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869893"/>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579381"/>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579381"/>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8F479644-EB9A-27D4-EE17-0222268B3C5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375285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937BA599-7CCB-C4DC-9B4F-6A3A691CCD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57946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8" name="Picture 7">
            <a:extLst>
              <a:ext uri="{FF2B5EF4-FFF2-40B4-BE49-F238E27FC236}">
                <a16:creationId xmlns:a16="http://schemas.microsoft.com/office/drawing/2014/main" id="{070A2075-D92D-445F-E397-025635C337C4}"/>
              </a:ext>
            </a:extLst>
          </p:cNvPr>
          <p:cNvPicPr>
            <a:picLocks noChangeAspect="1"/>
          </p:cNvPicPr>
          <p:nvPr userDrawn="1"/>
        </p:nvPicPr>
        <p:blipFill rotWithShape="1">
          <a:blip r:embed="rId2">
            <a:alphaModFix amt="50000"/>
          </a:blip>
          <a:srcRect t="2212" b="12568"/>
          <a:stretch/>
        </p:blipFill>
        <p:spPr>
          <a:xfrm>
            <a:off x="6078609" y="1"/>
            <a:ext cx="5694158" cy="6858000"/>
          </a:xfrm>
          <a:prstGeom prst="rect">
            <a:avLst/>
          </a:prstGeom>
        </p:spPr>
      </p:pic>
      <p:pic>
        <p:nvPicPr>
          <p:cNvPr id="11" name="Picture 10" descr="A white and blue logo&#10;&#10;Description automatically generated">
            <a:extLst>
              <a:ext uri="{FF2B5EF4-FFF2-40B4-BE49-F238E27FC236}">
                <a16:creationId xmlns:a16="http://schemas.microsoft.com/office/drawing/2014/main" id="{0E34E7CB-2D27-C519-3334-E0D39EA8ECF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79015"/>
            <a:ext cx="2721303" cy="853468"/>
          </a:xfrm>
          <a:prstGeom prst="rect">
            <a:avLst/>
          </a:prstGeom>
        </p:spPr>
      </p:pic>
    </p:spTree>
    <p:extLst>
      <p:ext uri="{BB962C8B-B14F-4D97-AF65-F5344CB8AC3E}">
        <p14:creationId xmlns:p14="http://schemas.microsoft.com/office/powerpoint/2010/main" val="31725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195"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3" name="Picture 2" descr="A white and blue logo&#10;&#10;Description automatically generated">
            <a:extLst>
              <a:ext uri="{FF2B5EF4-FFF2-40B4-BE49-F238E27FC236}">
                <a16:creationId xmlns:a16="http://schemas.microsoft.com/office/drawing/2014/main" id="{A45EFB02-5ECB-0F59-8E5A-9534D05AD19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03137" y="5508369"/>
            <a:ext cx="2721303" cy="853468"/>
          </a:xfrm>
          <a:prstGeom prst="rect">
            <a:avLst/>
          </a:prstGeom>
        </p:spPr>
      </p:pic>
    </p:spTree>
    <p:extLst>
      <p:ext uri="{BB962C8B-B14F-4D97-AF65-F5344CB8AC3E}">
        <p14:creationId xmlns:p14="http://schemas.microsoft.com/office/powerpoint/2010/main" val="414713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7" name="Picture 6">
            <a:extLst>
              <a:ext uri="{FF2B5EF4-FFF2-40B4-BE49-F238E27FC236}">
                <a16:creationId xmlns:a16="http://schemas.microsoft.com/office/drawing/2014/main" id="{F206DA1E-F75F-1E05-96DB-64B17CC6488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12945" y="5511445"/>
            <a:ext cx="2711495" cy="850392"/>
          </a:xfrm>
          <a:prstGeom prst="rect">
            <a:avLst/>
          </a:prstGeom>
        </p:spPr>
      </p:pic>
    </p:spTree>
    <p:extLst>
      <p:ext uri="{BB962C8B-B14F-4D97-AF65-F5344CB8AC3E}">
        <p14:creationId xmlns:p14="http://schemas.microsoft.com/office/powerpoint/2010/main" val="3501366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118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0908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38445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2/18/2025</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554986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699898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8637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6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014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176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5422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5127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54009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screen">
            <a:lum/>
            <a:extLst>
              <a:ext uri="{28A0092B-C50C-407E-A947-70E740481C1C}">
                <a14:useLocalDpi xmlns:a14="http://schemas.microsoft.com/office/drawing/2010/main"/>
              </a:ext>
            </a:extLst>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3010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8161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3140294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586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85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4010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302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8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7347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9025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456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0893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072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17773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2967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09071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99018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340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0123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62758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52544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5512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35456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28299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12044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24461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476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1373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14952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2/18/2025</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4870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0945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0747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363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90665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172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070765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19171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04251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68778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2.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74" Type="http://schemas.openxmlformats.org/officeDocument/2006/relationships/image" Target="../media/image2.png"/><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image" Target="../media/image3.svg"/><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theme" Target="../theme/theme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71"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63" Type="http://schemas.openxmlformats.org/officeDocument/2006/relationships/slideLayout" Target="../slideLayouts/slideLayout186.xml"/><Relationship Id="rId68" Type="http://schemas.openxmlformats.org/officeDocument/2006/relationships/slideLayout" Target="../slideLayouts/slideLayout191.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9" Type="http://schemas.openxmlformats.org/officeDocument/2006/relationships/slideLayout" Target="../slideLayouts/slideLayout152.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66" Type="http://schemas.openxmlformats.org/officeDocument/2006/relationships/slideLayout" Target="../slideLayouts/slideLayout189.xml"/><Relationship Id="rId74" Type="http://schemas.openxmlformats.org/officeDocument/2006/relationships/image" Target="../media/image2.png"/><Relationship Id="rId5" Type="http://schemas.openxmlformats.org/officeDocument/2006/relationships/slideLayout" Target="../slideLayouts/slideLayout128.xml"/><Relationship Id="rId61" Type="http://schemas.openxmlformats.org/officeDocument/2006/relationships/slideLayout" Target="../slideLayouts/slideLayout184.xml"/><Relationship Id="rId19" Type="http://schemas.openxmlformats.org/officeDocument/2006/relationships/slideLayout" Target="../slideLayouts/slideLayout14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64" Type="http://schemas.openxmlformats.org/officeDocument/2006/relationships/slideLayout" Target="../slideLayouts/slideLayout187.xml"/><Relationship Id="rId69" Type="http://schemas.openxmlformats.org/officeDocument/2006/relationships/slideLayout" Target="../slideLayouts/slideLayout192.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72" Type="http://schemas.openxmlformats.org/officeDocument/2006/relationships/slideLayout" Target="../slideLayouts/slideLayout195.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 Id="rId67" Type="http://schemas.openxmlformats.org/officeDocument/2006/relationships/slideLayout" Target="../slideLayouts/slideLayout190.xml"/><Relationship Id="rId20" Type="http://schemas.openxmlformats.org/officeDocument/2006/relationships/slideLayout" Target="../slideLayouts/slideLayout143.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slideLayout" Target="../slideLayouts/slideLayout185.xml"/><Relationship Id="rId70" Type="http://schemas.openxmlformats.org/officeDocument/2006/relationships/slideLayout" Target="../slideLayouts/slideLayout193.xml"/><Relationship Id="rId75" Type="http://schemas.openxmlformats.org/officeDocument/2006/relationships/image" Target="../media/image3.sv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10" Type="http://schemas.openxmlformats.org/officeDocument/2006/relationships/slideLayout" Target="../slideLayouts/slideLayout133.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65" Type="http://schemas.openxmlformats.org/officeDocument/2006/relationships/slideLayout" Target="../slideLayouts/slideLayout188.xml"/><Relationship Id="rId73" Type="http://schemas.openxmlformats.org/officeDocument/2006/relationships/theme" Target="../theme/theme5.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9" Type="http://schemas.openxmlformats.org/officeDocument/2006/relationships/slideLayout" Target="../slideLayouts/slideLayout162.xml"/><Relationship Id="rId34" Type="http://schemas.openxmlformats.org/officeDocument/2006/relationships/slideLayout" Target="../slideLayouts/slideLayout157.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71" Type="http://schemas.openxmlformats.org/officeDocument/2006/relationships/slideLayout" Target="../slideLayouts/slideLayout1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63" Type="http://schemas.openxmlformats.org/officeDocument/2006/relationships/slideLayout" Target="../slideLayouts/slideLayout258.xml"/><Relationship Id="rId68" Type="http://schemas.openxmlformats.org/officeDocument/2006/relationships/slideLayout" Target="../slideLayouts/slideLayout26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slideLayout" Target="../slideLayouts/slideLayout261.xml"/><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69" Type="http://schemas.openxmlformats.org/officeDocument/2006/relationships/slideLayout" Target="../slideLayouts/slideLayout264.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72" Type="http://schemas.openxmlformats.org/officeDocument/2006/relationships/slideLayout" Target="../slideLayouts/slideLayout267.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67" Type="http://schemas.openxmlformats.org/officeDocument/2006/relationships/slideLayout" Target="../slideLayouts/slideLayout262.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70" Type="http://schemas.openxmlformats.org/officeDocument/2006/relationships/slideLayout" Target="../slideLayouts/slideLayout26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slideLayout" Target="../slideLayouts/slideLayout260.xml"/><Relationship Id="rId73" Type="http://schemas.openxmlformats.org/officeDocument/2006/relationships/theme" Target="../theme/theme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 Id="rId34" Type="http://schemas.openxmlformats.org/officeDocument/2006/relationships/slideLayout" Target="../slideLayouts/slideLayout229.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71" Type="http://schemas.openxmlformats.org/officeDocument/2006/relationships/slideLayout" Target="../slideLayouts/slideLayout2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theme" Target="../theme/theme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8" Type="http://schemas.openxmlformats.org/officeDocument/2006/relationships/slideLayout" Target="../slideLayouts/slideLayout275.xml"/><Relationship Id="rId3" Type="http://schemas.openxmlformats.org/officeDocument/2006/relationships/slideLayout" Target="../slideLayouts/slideLayout27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9" Type="http://schemas.openxmlformats.org/officeDocument/2006/relationships/slideLayout" Target="../slideLayouts/slideLayout342.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42" Type="http://schemas.openxmlformats.org/officeDocument/2006/relationships/slideLayout" Target="../slideLayouts/slideLayout34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41" Type="http://schemas.openxmlformats.org/officeDocument/2006/relationships/slideLayout" Target="../slideLayouts/slideLayout344.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37" Type="http://schemas.openxmlformats.org/officeDocument/2006/relationships/slideLayout" Target="../slideLayouts/slideLayout340.xml"/><Relationship Id="rId40" Type="http://schemas.openxmlformats.org/officeDocument/2006/relationships/slideLayout" Target="../slideLayouts/slideLayout34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slideLayout" Target="../slideLayouts/slideLayout33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4" Type="http://schemas.openxmlformats.org/officeDocument/2006/relationships/theme" Target="../theme/theme8.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43" Type="http://schemas.openxmlformats.org/officeDocument/2006/relationships/slideLayout" Target="../slideLayouts/slideLayout346.xml"/><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38" Type="http://schemas.openxmlformats.org/officeDocument/2006/relationships/slideLayout" Target="../slideLayouts/slideLayout3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2/18/2025</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7"/>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853790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 id="2147483781" r:id="rId67"/>
    <p:sldLayoutId id="2147483782" r:id="rId68"/>
    <p:sldLayoutId id="2147483783" r:id="rId69"/>
    <p:sldLayoutId id="2147483784" r:id="rId70"/>
    <p:sldLayoutId id="2147483785" r:id="rId71"/>
    <p:sldLayoutId id="2147483786"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886996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53600121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 id="2147483910" r:id="rId50"/>
    <p:sldLayoutId id="2147483911" r:id="rId51"/>
    <p:sldLayoutId id="2147483912" r:id="rId52"/>
    <p:sldLayoutId id="2147483913" r:id="rId53"/>
    <p:sldLayoutId id="2147483914" r:id="rId54"/>
    <p:sldLayoutId id="2147483915" r:id="rId55"/>
    <p:sldLayoutId id="2147483916" r:id="rId56"/>
    <p:sldLayoutId id="2147483917" r:id="rId57"/>
    <p:sldLayoutId id="2147483918" r:id="rId58"/>
    <p:sldLayoutId id="2147483919" r:id="rId59"/>
    <p:sldLayoutId id="2147483920" r:id="rId60"/>
    <p:sldLayoutId id="2147483921" r:id="rId61"/>
    <p:sldLayoutId id="2147483922" r:id="rId62"/>
    <p:sldLayoutId id="2147483923" r:id="rId63"/>
    <p:sldLayoutId id="2147483924" r:id="rId64"/>
    <p:sldLayoutId id="2147483925" r:id="rId65"/>
    <p:sldLayoutId id="2147483926" r:id="rId66"/>
    <p:sldLayoutId id="2147483927" r:id="rId67"/>
    <p:sldLayoutId id="2147483928" r:id="rId68"/>
    <p:sldLayoutId id="2147483929" r:id="rId69"/>
    <p:sldLayoutId id="2147483930" r:id="rId70"/>
    <p:sldLayoutId id="2147483931" r:id="rId71"/>
    <p:sldLayoutId id="214748393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7361519"/>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2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92.png"/><Relationship Id="rId2" Type="http://schemas.openxmlformats.org/officeDocument/2006/relationships/notesSlide" Target="../notesSlides/notesSlide11.xml"/><Relationship Id="rId16" Type="http://schemas.openxmlformats.org/officeDocument/2006/relationships/image" Target="../media/image120.svg"/><Relationship Id="rId1" Type="http://schemas.openxmlformats.org/officeDocument/2006/relationships/slideLayout" Target="../slideLayouts/slideLayout114.xml"/><Relationship Id="rId6" Type="http://schemas.openxmlformats.org/officeDocument/2006/relationships/image" Target="../media/image110.svg"/><Relationship Id="rId11" Type="http://schemas.openxmlformats.org/officeDocument/2006/relationships/image" Target="../media/image115.sv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svg"/><Relationship Id="rId14" Type="http://schemas.openxmlformats.org/officeDocument/2006/relationships/image" Target="../media/image1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3.xml"/><Relationship Id="rId1" Type="http://schemas.openxmlformats.org/officeDocument/2006/relationships/slideLayout" Target="../slideLayouts/slideLayout147.xml"/><Relationship Id="rId4" Type="http://schemas.openxmlformats.org/officeDocument/2006/relationships/image" Target="../media/image122.svg"/></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notesSlide" Target="../notesSlides/notesSlide14.xml"/><Relationship Id="rId1" Type="http://schemas.openxmlformats.org/officeDocument/2006/relationships/slideLayout" Target="../slideLayouts/slideLayout145.xml"/></Relationships>
</file>

<file path=ppt/slides/_rels/slide1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emf"/><Relationship Id="rId7" Type="http://schemas.openxmlformats.org/officeDocument/2006/relationships/image" Target="../media/image126.svg"/><Relationship Id="rId2" Type="http://schemas.openxmlformats.org/officeDocument/2006/relationships/notesSlide" Target="../notesSlides/notesSlide15.xml"/><Relationship Id="rId1" Type="http://schemas.openxmlformats.org/officeDocument/2006/relationships/slideLayout" Target="../slideLayouts/slideLayout145.xml"/><Relationship Id="rId6" Type="http://schemas.openxmlformats.org/officeDocument/2006/relationships/image" Target="../media/image107.png"/><Relationship Id="rId5" Type="http://schemas.openxmlformats.org/officeDocument/2006/relationships/image" Target="../media/image125.emf"/><Relationship Id="rId4" Type="http://schemas.openxmlformats.org/officeDocument/2006/relationships/image" Target="../media/image124.png"/><Relationship Id="rId9" Type="http://schemas.openxmlformats.org/officeDocument/2006/relationships/image" Target="../media/image128.svg"/></Relationships>
</file>

<file path=ppt/slides/_rels/slide19.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7.png"/><Relationship Id="rId3" Type="http://schemas.openxmlformats.org/officeDocument/2006/relationships/image" Target="../media/image129.png"/><Relationship Id="rId21" Type="http://schemas.openxmlformats.org/officeDocument/2006/relationships/image" Target="../media/image142.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0.png"/><Relationship Id="rId25" Type="http://schemas.openxmlformats.org/officeDocument/2006/relationships/image" Target="../media/image146.svg"/><Relationship Id="rId2" Type="http://schemas.openxmlformats.org/officeDocument/2006/relationships/notesSlide" Target="../notesSlides/notesSlide16.xml"/><Relationship Id="rId16" Type="http://schemas.openxmlformats.org/officeDocument/2006/relationships/image" Target="../media/image139.svg"/><Relationship Id="rId20" Type="http://schemas.openxmlformats.org/officeDocument/2006/relationships/image" Target="../media/image141.png"/><Relationship Id="rId29" Type="http://schemas.openxmlformats.org/officeDocument/2006/relationships/image" Target="../media/image150.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5.png"/><Relationship Id="rId5" Type="http://schemas.openxmlformats.org/officeDocument/2006/relationships/image" Target="../media/image131.png"/><Relationship Id="rId15" Type="http://schemas.openxmlformats.org/officeDocument/2006/relationships/image" Target="../media/image116.png"/><Relationship Id="rId23" Type="http://schemas.openxmlformats.org/officeDocument/2006/relationships/image" Target="../media/image144.svg"/><Relationship Id="rId28" Type="http://schemas.openxmlformats.org/officeDocument/2006/relationships/image" Target="../media/image149.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3.png"/><Relationship Id="rId27" Type="http://schemas.openxmlformats.org/officeDocument/2006/relationships/image" Target="../media/image148.svg"/></Relationships>
</file>

<file path=ppt/slides/_rels/slide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hyperlink" Target="https://github.com/Boykai/octo-microhack-rag-ai-and-your-data"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48.xml"/><Relationship Id="rId5" Type="http://schemas.openxmlformats.org/officeDocument/2006/relationships/image" Target="../media/image93.png"/><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7.png"/><Relationship Id="rId3" Type="http://schemas.openxmlformats.org/officeDocument/2006/relationships/image" Target="../media/image129.png"/><Relationship Id="rId21" Type="http://schemas.openxmlformats.org/officeDocument/2006/relationships/image" Target="../media/image142.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0.png"/><Relationship Id="rId25" Type="http://schemas.openxmlformats.org/officeDocument/2006/relationships/image" Target="../media/image146.svg"/><Relationship Id="rId2" Type="http://schemas.openxmlformats.org/officeDocument/2006/relationships/notesSlide" Target="../notesSlides/notesSlide24.xml"/><Relationship Id="rId16" Type="http://schemas.openxmlformats.org/officeDocument/2006/relationships/image" Target="../media/image139.svg"/><Relationship Id="rId20" Type="http://schemas.openxmlformats.org/officeDocument/2006/relationships/image" Target="../media/image141.png"/><Relationship Id="rId29" Type="http://schemas.openxmlformats.org/officeDocument/2006/relationships/image" Target="../media/image150.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5.png"/><Relationship Id="rId5" Type="http://schemas.openxmlformats.org/officeDocument/2006/relationships/image" Target="../media/image131.png"/><Relationship Id="rId15" Type="http://schemas.openxmlformats.org/officeDocument/2006/relationships/image" Target="../media/image116.png"/><Relationship Id="rId23" Type="http://schemas.openxmlformats.org/officeDocument/2006/relationships/image" Target="../media/image144.svg"/><Relationship Id="rId28" Type="http://schemas.openxmlformats.org/officeDocument/2006/relationships/image" Target="../media/image149.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3.png"/><Relationship Id="rId27" Type="http://schemas.openxmlformats.org/officeDocument/2006/relationships/image" Target="../media/image148.svg"/></Relationships>
</file>

<file path=ppt/slides/_rels/slide32.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7.png"/><Relationship Id="rId3" Type="http://schemas.openxmlformats.org/officeDocument/2006/relationships/image" Target="../media/image129.png"/><Relationship Id="rId21" Type="http://schemas.openxmlformats.org/officeDocument/2006/relationships/image" Target="../media/image142.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0.png"/><Relationship Id="rId25" Type="http://schemas.openxmlformats.org/officeDocument/2006/relationships/image" Target="../media/image146.svg"/><Relationship Id="rId2" Type="http://schemas.openxmlformats.org/officeDocument/2006/relationships/notesSlide" Target="../notesSlides/notesSlide25.xml"/><Relationship Id="rId16" Type="http://schemas.openxmlformats.org/officeDocument/2006/relationships/image" Target="../media/image139.svg"/><Relationship Id="rId20" Type="http://schemas.openxmlformats.org/officeDocument/2006/relationships/image" Target="../media/image141.png"/><Relationship Id="rId29" Type="http://schemas.openxmlformats.org/officeDocument/2006/relationships/image" Target="../media/image150.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5.png"/><Relationship Id="rId5" Type="http://schemas.openxmlformats.org/officeDocument/2006/relationships/image" Target="../media/image131.png"/><Relationship Id="rId15" Type="http://schemas.openxmlformats.org/officeDocument/2006/relationships/image" Target="../media/image116.png"/><Relationship Id="rId23" Type="http://schemas.openxmlformats.org/officeDocument/2006/relationships/image" Target="../media/image144.svg"/><Relationship Id="rId28" Type="http://schemas.openxmlformats.org/officeDocument/2006/relationships/image" Target="../media/image149.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3.png"/><Relationship Id="rId27" Type="http://schemas.openxmlformats.org/officeDocument/2006/relationships/image" Target="../media/image148.svg"/></Relationships>
</file>

<file path=ppt/slides/_rels/slide33.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7.png"/><Relationship Id="rId3" Type="http://schemas.openxmlformats.org/officeDocument/2006/relationships/image" Target="../media/image129.png"/><Relationship Id="rId21" Type="http://schemas.openxmlformats.org/officeDocument/2006/relationships/image" Target="../media/image142.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0.png"/><Relationship Id="rId25" Type="http://schemas.openxmlformats.org/officeDocument/2006/relationships/image" Target="../media/image146.svg"/><Relationship Id="rId2" Type="http://schemas.openxmlformats.org/officeDocument/2006/relationships/notesSlide" Target="../notesSlides/notesSlide26.xml"/><Relationship Id="rId16" Type="http://schemas.openxmlformats.org/officeDocument/2006/relationships/image" Target="../media/image139.svg"/><Relationship Id="rId20" Type="http://schemas.openxmlformats.org/officeDocument/2006/relationships/image" Target="../media/image141.png"/><Relationship Id="rId29" Type="http://schemas.openxmlformats.org/officeDocument/2006/relationships/image" Target="../media/image150.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5.png"/><Relationship Id="rId5" Type="http://schemas.openxmlformats.org/officeDocument/2006/relationships/image" Target="../media/image131.png"/><Relationship Id="rId15" Type="http://schemas.openxmlformats.org/officeDocument/2006/relationships/image" Target="../media/image116.png"/><Relationship Id="rId23" Type="http://schemas.openxmlformats.org/officeDocument/2006/relationships/image" Target="../media/image144.svg"/><Relationship Id="rId28" Type="http://schemas.openxmlformats.org/officeDocument/2006/relationships/image" Target="../media/image149.png"/><Relationship Id="rId10" Type="http://schemas.openxmlformats.org/officeDocument/2006/relationships/image" Target="../media/image136.svg"/><Relationship Id="rId19" Type="http://schemas.openxmlformats.org/officeDocument/2006/relationships/image" Target="../media/image128.svg"/><Relationship Id="rId31" Type="http://schemas.openxmlformats.org/officeDocument/2006/relationships/image" Target="../media/image152.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3.png"/><Relationship Id="rId27" Type="http://schemas.openxmlformats.org/officeDocument/2006/relationships/image" Target="../media/image148.svg"/><Relationship Id="rId30" Type="http://schemas.openxmlformats.org/officeDocument/2006/relationships/image" Target="../media/image151.png"/></Relationships>
</file>

<file path=ppt/slides/_rels/slide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5.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image" Target="../media/image97.png"/><Relationship Id="rId7" Type="http://schemas.openxmlformats.org/officeDocument/2006/relationships/image" Target="../media/image94.png"/><Relationship Id="rId12"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50.xml"/><Relationship Id="rId6" Type="http://schemas.openxmlformats.org/officeDocument/2006/relationships/image" Target="../media/image100.svg"/><Relationship Id="rId11" Type="http://schemas.openxmlformats.org/officeDocument/2006/relationships/image" Target="../media/image104.sv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svg"/><Relationship Id="rId9" Type="http://schemas.openxmlformats.org/officeDocument/2006/relationships/image" Target="../media/image10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a:lstStyle/>
          <a:p>
            <a:r>
              <a:rPr kumimoji="0" lang="en-US" sz="2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o you will be working with:</a:t>
            </a:r>
            <a:endParaRPr lang="en-US"/>
          </a:p>
        </p:txBody>
      </p:sp>
      <p:sp>
        <p:nvSpPr>
          <p:cNvPr id="28" name="TextBox 27">
            <a:extLst>
              <a:ext uri="{FF2B5EF4-FFF2-40B4-BE49-F238E27FC236}">
                <a16:creationId xmlns:a16="http://schemas.microsoft.com/office/drawing/2014/main" id="{6561AF4F-ABE5-F53C-8CA6-1DCB9D2F9F00}"/>
              </a:ext>
            </a:extLst>
          </p:cNvPr>
          <p:cNvSpPr txBox="1"/>
          <p:nvPr/>
        </p:nvSpPr>
        <p:spPr>
          <a:xfrm>
            <a:off x="1051250" y="1855851"/>
            <a:ext cx="4379166"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Join your assigned team of 3-7 participan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Join your Teams Break-Out channel</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Coaches available to help</a:t>
            </a:r>
          </a:p>
          <a:p>
            <a:pPr marL="342900" indent="-342900">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ain channel will display schedule and remain open for coach reques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1344676"/>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at you will be working on:</a:t>
            </a:r>
            <a:endParaRPr lang="en-US"/>
          </a:p>
        </p:txBody>
      </p:sp>
      <p:sp>
        <p:nvSpPr>
          <p:cNvPr id="30" name="TextBox 29">
            <a:extLst>
              <a:ext uri="{FF2B5EF4-FFF2-40B4-BE49-F238E27FC236}">
                <a16:creationId xmlns:a16="http://schemas.microsoft.com/office/drawing/2014/main" id="{04A54B2A-1404-F0BF-3ECB-3591D7DE84E6}"/>
              </a:ext>
            </a:extLst>
          </p:cNvPr>
          <p:cNvSpPr txBox="1"/>
          <p:nvPr/>
        </p:nvSpPr>
        <p:spPr>
          <a:xfrm>
            <a:off x="6195145" y="1855851"/>
            <a:ext cx="5088682" cy="461664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Microsoft Teams – use to collaborate with your Microhack team</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Azure – Microhack development environment</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icrohack Challenges packet – complete challenges to complete Microhack successfully</a:t>
            </a:r>
          </a:p>
          <a:p>
            <a:pPr marL="800100" lvl="1" indent="-342900">
              <a:buFont typeface="Arial" panose="020B0604020202020204" pitchFamily="34" charset="0"/>
              <a:buChar char="•"/>
            </a:pPr>
            <a:r>
              <a:rPr lang="en-US" sz="2000">
                <a:solidFill>
                  <a:schemeClr val="bg1"/>
                </a:solidFill>
              </a:rPr>
              <a:t>Search Service Deployment</a:t>
            </a:r>
          </a:p>
          <a:p>
            <a:pPr marL="800100" lvl="1" indent="-342900">
              <a:buFont typeface="Arial" panose="020B0604020202020204" pitchFamily="34" charset="0"/>
              <a:buChar char="•"/>
            </a:pPr>
            <a:r>
              <a:rPr lang="en-US" sz="2000">
                <a:solidFill>
                  <a:schemeClr val="bg1"/>
                </a:solidFill>
              </a:rPr>
              <a:t>Creating Vector Indexes </a:t>
            </a:r>
          </a:p>
          <a:p>
            <a:pPr marL="800100" lvl="1" indent="-342900">
              <a:buFont typeface="Arial" panose="020B0604020202020204" pitchFamily="34" charset="0"/>
              <a:buChar char="•"/>
            </a:pPr>
            <a:r>
              <a:rPr lang="en-US" sz="2000">
                <a:solidFill>
                  <a:schemeClr val="bg1"/>
                </a:solidFill>
              </a:rPr>
              <a:t>Querying Vector Indexes</a:t>
            </a:r>
          </a:p>
          <a:p>
            <a:pPr marL="800100" lvl="1" indent="-342900">
              <a:buFont typeface="Arial" panose="020B0604020202020204" pitchFamily="34" charset="0"/>
              <a:buChar char="•"/>
            </a:pPr>
            <a:r>
              <a:rPr lang="en-US" sz="2000">
                <a:solidFill>
                  <a:schemeClr val="bg1"/>
                </a:solidFill>
              </a:rPr>
              <a:t>Integrating RAG into existing application</a:t>
            </a:r>
          </a:p>
          <a:p>
            <a:pPr marL="800100" lvl="1" indent="-342900">
              <a:buFont typeface="Arial" panose="020B0604020202020204" pitchFamily="34" charset="0"/>
              <a:buChar char="•"/>
            </a:pPr>
            <a:r>
              <a:rPr lang="en-US" sz="2000">
                <a:solidFill>
                  <a:schemeClr val="bg1"/>
                </a:solidFill>
              </a:rPr>
              <a:t>Advanced Challenges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Optional</a:t>
            </a:r>
            <a:r>
              <a:rPr lang="en-US" sz="2000">
                <a:solidFill>
                  <a:schemeClr val="bg1"/>
                </a:solidFill>
              </a:rPr>
              <a:t>)</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1051248" y="1855851"/>
            <a:ext cx="5660701" cy="27699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Invest in yourself.  This is your training and your dedicated time for training.  Make the most of it.</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tribute to the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You can finish in the time allotted, but you will need the time and group collaboration in order to fini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5578582" y="449097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011086" y="5002150"/>
            <a:ext cx="5072479"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ave your team for extended periods o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Give up (ask if you need help).</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Customer Scenario | Contoso</a:t>
            </a: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is Contoso?</a:t>
            </a:r>
            <a:endParaRPr kumimoji="0" lang="en-US" sz="2800" b="0" i="0" u="none" strike="noStrike" kern="1200" cap="none" spc="0" normalizeH="0" baseline="0" noProof="0" dirty="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1051248" y="1855851"/>
            <a:ext cx="5660701"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Technology compan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Enormous employee benefits portfoli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Rapidly growing employee benefits ecosyst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Desperate legacy employee benefits documentation </a:t>
            </a: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567080" y="3771043"/>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is Contoso trying to accomplis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999584" y="4282218"/>
            <a:ext cx="5072479"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solidate employee benefits catalo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Streamline and modernize </a:t>
            </a:r>
            <a:r>
              <a:rPr kumimoji="0" lang="en-US" sz="2000" b="0" i="0" u="none" strike="noStrike" kern="1200" cap="none" spc="0" normalizeH="0" baseline="0" noProof="0">
                <a:ln>
                  <a:noFill/>
                </a:ln>
                <a:solidFill>
                  <a:srgbClr val="FFFFFF"/>
                </a:solidFill>
                <a:effectLst/>
                <a:uLnTx/>
                <a:uFillTx/>
                <a:latin typeface="Segoe Sans Text"/>
                <a:ea typeface="+mn-ea"/>
                <a:cs typeface="+mn-cs"/>
              </a:rPr>
              <a:t>employee benefits</a:t>
            </a:r>
            <a:r>
              <a:rPr lang="en-US" sz="2000">
                <a:solidFill>
                  <a:srgbClr val="FFFFFF"/>
                </a:solidFill>
                <a:latin typeface="Segoe Sans Text"/>
              </a:rPr>
              <a:t> documen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crease easy</a:t>
            </a:r>
            <a:r>
              <a:rPr lang="en-US" sz="2000">
                <a:solidFill>
                  <a:srgbClr val="FFFFFF"/>
                </a:solidFill>
                <a:latin typeface="Segoe Sans Text"/>
              </a:rPr>
              <a:t>-of-use of </a:t>
            </a:r>
            <a:r>
              <a:rPr kumimoji="0" lang="en-US" sz="2000" b="0" i="0" u="none" strike="noStrike" kern="1200" cap="none" spc="0" normalizeH="0" baseline="0" noProof="0">
                <a:ln>
                  <a:noFill/>
                </a:ln>
                <a:solidFill>
                  <a:srgbClr val="FFFFFF"/>
                </a:solidFill>
                <a:effectLst/>
                <a:uLnTx/>
                <a:uFillTx/>
                <a:latin typeface="Segoe Sans Text"/>
                <a:ea typeface="+mn-ea"/>
                <a:cs typeface="+mn-cs"/>
              </a:rPr>
              <a:t>employee benefits</a:t>
            </a:r>
            <a:r>
              <a:rPr lang="en-US" sz="2000">
                <a:solidFill>
                  <a:srgbClr val="FFFFFF"/>
                </a:solidFill>
                <a:latin typeface="Segoe Sans Text"/>
              </a:rPr>
              <a:t> catalog understanding</a:t>
            </a:r>
            <a:r>
              <a:rPr kumimoji="0" lang="en-US" sz="2000" b="0" i="0" u="none" strike="noStrike" kern="1200" cap="none" spc="0" normalizeH="0" baseline="0" noProof="0">
                <a:ln>
                  <a:noFill/>
                </a:ln>
                <a:solidFill>
                  <a:srgbClr val="FFFFFF"/>
                </a:solidFill>
                <a:effectLst/>
                <a:uLnTx/>
                <a:uFillTx/>
                <a:latin typeface="Segoe Sans Text"/>
                <a:ea typeface="+mn-ea"/>
                <a:cs typeface="+mn-cs"/>
              </a:rPr>
              <a:t> </a:t>
            </a: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21FE9EF-0E11-DA6A-B2F5-D4D170E20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DA7224-9B95-B4D0-B146-456540411282}"/>
              </a:ext>
            </a:extLst>
          </p:cNvPr>
          <p:cNvSpPr>
            <a:spLocks noGrp="1"/>
          </p:cNvSpPr>
          <p:nvPr>
            <p:ph type="title"/>
          </p:nvPr>
        </p:nvSpPr>
        <p:spPr>
          <a:xfrm>
            <a:off x="588263" y="457200"/>
            <a:ext cx="11018520" cy="553998"/>
          </a:xfrm>
        </p:spPr>
        <p:txBody>
          <a:bodyPr wrap="square" anchor="t">
            <a:normAutofit/>
          </a:bodyPr>
          <a:lstStyle/>
          <a:p>
            <a:r>
              <a:rPr lang="en-US">
                <a:solidFill>
                  <a:schemeClr val="bg1"/>
                </a:solidFill>
              </a:rPr>
              <a:t>Bringing domain </a:t>
            </a:r>
            <a:r>
              <a:rPr kumimoji="0" lang="en-US" sz="3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nowledge</a:t>
            </a:r>
            <a:r>
              <a:rPr lang="en-US">
                <a:solidFill>
                  <a:schemeClr val="bg1"/>
                </a:solidFill>
              </a:rPr>
              <a:t> to LLMs</a:t>
            </a:r>
          </a:p>
        </p:txBody>
      </p:sp>
      <p:sp>
        <p:nvSpPr>
          <p:cNvPr id="13" name="Rounded Rectangle 1">
            <a:extLst>
              <a:ext uri="{FF2B5EF4-FFF2-40B4-BE49-F238E27FC236}">
                <a16:creationId xmlns:a16="http://schemas.microsoft.com/office/drawing/2014/main" id="{8941D711-63FB-2C0F-277C-BC22B05BBB74}"/>
              </a:ext>
              <a:ext uri="{C183D7F6-B498-43B3-948B-1728B52AA6E4}">
                <adec:decorative xmlns:adec="http://schemas.microsoft.com/office/drawing/2017/decorative" val="1"/>
              </a:ext>
            </a:extLst>
          </p:cNvPr>
          <p:cNvSpPr/>
          <p:nvPr/>
        </p:nvSpPr>
        <p:spPr bwMode="auto">
          <a:xfrm>
            <a:off x="590560" y="1753486"/>
            <a:ext cx="3291840" cy="3931920"/>
          </a:xfrm>
          <a:prstGeom prst="roundRect">
            <a:avLst>
              <a:gd name="adj" fmla="val 2824"/>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Prompt</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engineer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In-context learning</a:t>
            </a:r>
          </a:p>
        </p:txBody>
      </p:sp>
      <p:sp>
        <p:nvSpPr>
          <p:cNvPr id="14" name="Rounded Rectangle 299">
            <a:extLst>
              <a:ext uri="{FF2B5EF4-FFF2-40B4-BE49-F238E27FC236}">
                <a16:creationId xmlns:a16="http://schemas.microsoft.com/office/drawing/2014/main" id="{63D65848-8164-E7DD-5053-C7C49BD51CA0}"/>
              </a:ext>
              <a:ext uri="{C183D7F6-B498-43B3-948B-1728B52AA6E4}">
                <adec:decorative xmlns:adec="http://schemas.microsoft.com/office/drawing/2017/decorative" val="1"/>
              </a:ext>
            </a:extLst>
          </p:cNvPr>
          <p:cNvSpPr/>
          <p:nvPr/>
        </p:nvSpPr>
        <p:spPr bwMode="auto">
          <a:xfrm>
            <a:off x="4453954" y="1753486"/>
            <a:ext cx="3291840" cy="3931920"/>
          </a:xfrm>
          <a:prstGeom prst="roundRect">
            <a:avLst>
              <a:gd name="adj" fmla="val 2893"/>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Fine</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tun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skills</a:t>
            </a:r>
          </a:p>
        </p:txBody>
      </p:sp>
      <p:sp>
        <p:nvSpPr>
          <p:cNvPr id="15" name="Rounded Rectangle 300">
            <a:extLst>
              <a:ext uri="{FF2B5EF4-FFF2-40B4-BE49-F238E27FC236}">
                <a16:creationId xmlns:a16="http://schemas.microsoft.com/office/drawing/2014/main" id="{8BA40196-7A63-66A7-F181-26C162FA8D46}"/>
              </a:ext>
              <a:ext uri="{C183D7F6-B498-43B3-948B-1728B52AA6E4}">
                <adec:decorative xmlns:adec="http://schemas.microsoft.com/office/drawing/2017/decorative" val="1"/>
              </a:ext>
            </a:extLst>
          </p:cNvPr>
          <p:cNvSpPr/>
          <p:nvPr/>
        </p:nvSpPr>
        <p:spPr bwMode="auto">
          <a:xfrm>
            <a:off x="8317349" y="1753486"/>
            <a:ext cx="3291840" cy="3931920"/>
          </a:xfrm>
          <a:prstGeom prst="roundRect">
            <a:avLst>
              <a:gd name="adj" fmla="val 270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Retrieval augmentation</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facts</a:t>
            </a:r>
          </a:p>
        </p:txBody>
      </p:sp>
      <p:sp>
        <p:nvSpPr>
          <p:cNvPr id="16" name="Graphic 13">
            <a:extLst>
              <a:ext uri="{FF2B5EF4-FFF2-40B4-BE49-F238E27FC236}">
                <a16:creationId xmlns:a16="http://schemas.microsoft.com/office/drawing/2014/main" id="{F43591FB-6901-4F48-F17A-B433F7A1B4C3}"/>
              </a:ext>
              <a:ext uri="{C183D7F6-B498-43B3-948B-1728B52AA6E4}">
                <adec:decorative xmlns:adec="http://schemas.microsoft.com/office/drawing/2017/decorative" val="1"/>
              </a:ext>
            </a:extLst>
          </p:cNvPr>
          <p:cNvSpPr>
            <a:spLocks noChangeAspect="1"/>
          </p:cNvSpPr>
          <p:nvPr/>
        </p:nvSpPr>
        <p:spPr>
          <a:xfrm>
            <a:off x="1881884" y="2690359"/>
            <a:ext cx="709193" cy="702619"/>
          </a:xfrm>
          <a:custGeom>
            <a:avLst/>
            <a:gdLst>
              <a:gd name="connsiteX0" fmla="*/ 231767 w 482444"/>
              <a:gd name="connsiteY0" fmla="*/ 0 h 477972"/>
              <a:gd name="connsiteX1" fmla="*/ 463534 w 482444"/>
              <a:gd name="connsiteY1" fmla="*/ 231767 h 477972"/>
              <a:gd name="connsiteX2" fmla="*/ 462838 w 482444"/>
              <a:gd name="connsiteY2" fmla="*/ 249844 h 477972"/>
              <a:gd name="connsiteX3" fmla="*/ 249845 w 482444"/>
              <a:gd name="connsiteY3" fmla="*/ 254700 h 477972"/>
              <a:gd name="connsiteX4" fmla="*/ 249845 w 482444"/>
              <a:gd name="connsiteY4" fmla="*/ 462838 h 477972"/>
              <a:gd name="connsiteX5" fmla="*/ 124111 w 482444"/>
              <a:gd name="connsiteY5" fmla="*/ 437066 h 477972"/>
              <a:gd name="connsiteX6" fmla="*/ 24683 w 482444"/>
              <a:gd name="connsiteY6" fmla="*/ 462954 h 477972"/>
              <a:gd name="connsiteX7" fmla="*/ 695 w 482444"/>
              <a:gd name="connsiteY7" fmla="*/ 448784 h 477972"/>
              <a:gd name="connsiteX8" fmla="*/ 695 w 482444"/>
              <a:gd name="connsiteY8" fmla="*/ 438966 h 477972"/>
              <a:gd name="connsiteX9" fmla="*/ 26561 w 482444"/>
              <a:gd name="connsiteY9" fmla="*/ 339561 h 477972"/>
              <a:gd name="connsiteX10" fmla="*/ 0 w 482444"/>
              <a:gd name="connsiteY10" fmla="*/ 231767 h 477972"/>
              <a:gd name="connsiteX11" fmla="*/ 231767 w 482444"/>
              <a:gd name="connsiteY11" fmla="*/ 0 h 477972"/>
              <a:gd name="connsiteX12" fmla="*/ 284563 w 482444"/>
              <a:gd name="connsiteY12" fmla="*/ 277564 h 477972"/>
              <a:gd name="connsiteX13" fmla="*/ 252881 w 482444"/>
              <a:gd name="connsiteY13" fmla="*/ 334954 h 477972"/>
              <a:gd name="connsiteX14" fmla="*/ 251166 w 482444"/>
              <a:gd name="connsiteY14" fmla="*/ 335413 h 477972"/>
              <a:gd name="connsiteX15" fmla="*/ 237631 w 482444"/>
              <a:gd name="connsiteY15" fmla="*/ 338750 h 477972"/>
              <a:gd name="connsiteX16" fmla="*/ 237770 w 482444"/>
              <a:gd name="connsiteY16" fmla="*/ 380630 h 477972"/>
              <a:gd name="connsiteX17" fmla="*/ 250285 w 482444"/>
              <a:gd name="connsiteY17" fmla="*/ 383643 h 477972"/>
              <a:gd name="connsiteX18" fmla="*/ 284494 w 482444"/>
              <a:gd name="connsiteY18" fmla="*/ 439562 h 477972"/>
              <a:gd name="connsiteX19" fmla="*/ 283891 w 482444"/>
              <a:gd name="connsiteY19" fmla="*/ 441817 h 477972"/>
              <a:gd name="connsiteX20" fmla="*/ 279557 w 482444"/>
              <a:gd name="connsiteY20" fmla="*/ 456464 h 477972"/>
              <a:gd name="connsiteX21" fmla="*/ 313951 w 482444"/>
              <a:gd name="connsiteY21" fmla="*/ 477833 h 477972"/>
              <a:gd name="connsiteX22" fmla="*/ 325401 w 482444"/>
              <a:gd name="connsiteY22" fmla="*/ 465781 h 477972"/>
              <a:gd name="connsiteX23" fmla="*/ 390933 w 482444"/>
              <a:gd name="connsiteY23" fmla="*/ 464148 h 477972"/>
              <a:gd name="connsiteX24" fmla="*/ 392590 w 482444"/>
              <a:gd name="connsiteY24" fmla="*/ 465805 h 477972"/>
              <a:gd name="connsiteX25" fmla="*/ 404132 w 482444"/>
              <a:gd name="connsiteY25" fmla="*/ 477972 h 477972"/>
              <a:gd name="connsiteX26" fmla="*/ 438503 w 482444"/>
              <a:gd name="connsiteY26" fmla="*/ 456812 h 477972"/>
              <a:gd name="connsiteX27" fmla="*/ 433914 w 482444"/>
              <a:gd name="connsiteY27" fmla="*/ 440913 h 477972"/>
              <a:gd name="connsiteX28" fmla="*/ 465596 w 482444"/>
              <a:gd name="connsiteY28" fmla="*/ 383523 h 477972"/>
              <a:gd name="connsiteX29" fmla="*/ 467311 w 482444"/>
              <a:gd name="connsiteY29" fmla="*/ 383064 h 477972"/>
              <a:gd name="connsiteX30" fmla="*/ 480847 w 482444"/>
              <a:gd name="connsiteY30" fmla="*/ 379727 h 477972"/>
              <a:gd name="connsiteX31" fmla="*/ 480707 w 482444"/>
              <a:gd name="connsiteY31" fmla="*/ 337823 h 477972"/>
              <a:gd name="connsiteX32" fmla="*/ 468192 w 482444"/>
              <a:gd name="connsiteY32" fmla="*/ 334810 h 477972"/>
              <a:gd name="connsiteX33" fmla="*/ 433983 w 482444"/>
              <a:gd name="connsiteY33" fmla="*/ 278892 h 477972"/>
              <a:gd name="connsiteX34" fmla="*/ 434586 w 482444"/>
              <a:gd name="connsiteY34" fmla="*/ 276637 h 477972"/>
              <a:gd name="connsiteX35" fmla="*/ 438920 w 482444"/>
              <a:gd name="connsiteY35" fmla="*/ 262035 h 477972"/>
              <a:gd name="connsiteX36" fmla="*/ 404526 w 482444"/>
              <a:gd name="connsiteY36" fmla="*/ 240667 h 477972"/>
              <a:gd name="connsiteX37" fmla="*/ 393100 w 482444"/>
              <a:gd name="connsiteY37" fmla="*/ 252672 h 477972"/>
              <a:gd name="connsiteX38" fmla="*/ 327568 w 482444"/>
              <a:gd name="connsiteY38" fmla="*/ 254352 h 477972"/>
              <a:gd name="connsiteX39" fmla="*/ 325887 w 482444"/>
              <a:gd name="connsiteY39" fmla="*/ 252672 h 477972"/>
              <a:gd name="connsiteX40" fmla="*/ 314345 w 482444"/>
              <a:gd name="connsiteY40" fmla="*/ 240504 h 477972"/>
              <a:gd name="connsiteX41" fmla="*/ 279974 w 482444"/>
              <a:gd name="connsiteY41" fmla="*/ 261641 h 477972"/>
              <a:gd name="connsiteX42" fmla="*/ 284563 w 482444"/>
              <a:gd name="connsiteY42" fmla="*/ 277564 h 477972"/>
              <a:gd name="connsiteX43" fmla="*/ 359239 w 482444"/>
              <a:gd name="connsiteY43" fmla="*/ 324473 h 477972"/>
              <a:gd name="connsiteX44" fmla="*/ 392845 w 482444"/>
              <a:gd name="connsiteY44" fmla="*/ 359238 h 477972"/>
              <a:gd name="connsiteX45" fmla="*/ 359239 w 482444"/>
              <a:gd name="connsiteY45" fmla="*/ 394003 h 477972"/>
              <a:gd name="connsiteX46" fmla="*/ 325632 w 482444"/>
              <a:gd name="connsiteY46" fmla="*/ 359238 h 477972"/>
              <a:gd name="connsiteX47" fmla="*/ 359239 w 482444"/>
              <a:gd name="connsiteY47" fmla="*/ 324473 h 47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2444" h="477972">
                <a:moveTo>
                  <a:pt x="231767" y="0"/>
                </a:moveTo>
                <a:cubicBezTo>
                  <a:pt x="359772" y="0"/>
                  <a:pt x="463534" y="103762"/>
                  <a:pt x="463534" y="231767"/>
                </a:cubicBezTo>
                <a:cubicBezTo>
                  <a:pt x="463534" y="237862"/>
                  <a:pt x="463302" y="243888"/>
                  <a:pt x="462838" y="249844"/>
                </a:cubicBezTo>
                <a:cubicBezTo>
                  <a:pt x="402681" y="192369"/>
                  <a:pt x="307320" y="194543"/>
                  <a:pt x="249845" y="254700"/>
                </a:cubicBezTo>
                <a:cubicBezTo>
                  <a:pt x="194214" y="312927"/>
                  <a:pt x="194214" y="404611"/>
                  <a:pt x="249845" y="462838"/>
                </a:cubicBezTo>
                <a:cubicBezTo>
                  <a:pt x="206340" y="466305"/>
                  <a:pt x="162744" y="457368"/>
                  <a:pt x="124111" y="437066"/>
                </a:cubicBezTo>
                <a:lnTo>
                  <a:pt x="24683" y="462954"/>
                </a:lnTo>
                <a:cubicBezTo>
                  <a:pt x="14147" y="465666"/>
                  <a:pt x="3407" y="459322"/>
                  <a:pt x="695" y="448784"/>
                </a:cubicBezTo>
                <a:cubicBezTo>
                  <a:pt x="-133" y="445565"/>
                  <a:pt x="-133" y="442185"/>
                  <a:pt x="695" y="438966"/>
                </a:cubicBezTo>
                <a:lnTo>
                  <a:pt x="26561" y="339561"/>
                </a:lnTo>
                <a:cubicBezTo>
                  <a:pt x="9069" y="306326"/>
                  <a:pt x="-48" y="269324"/>
                  <a:pt x="0" y="231767"/>
                </a:cubicBezTo>
                <a:cubicBezTo>
                  <a:pt x="0" y="103762"/>
                  <a:pt x="103762" y="0"/>
                  <a:pt x="231767" y="0"/>
                </a:cubicBezTo>
                <a:close/>
                <a:moveTo>
                  <a:pt x="284563" y="277564"/>
                </a:moveTo>
                <a:cubicBezTo>
                  <a:pt x="291662" y="302161"/>
                  <a:pt x="277478" y="327855"/>
                  <a:pt x="252881" y="334954"/>
                </a:cubicBezTo>
                <a:cubicBezTo>
                  <a:pt x="252313" y="335116"/>
                  <a:pt x="251741" y="335271"/>
                  <a:pt x="251166" y="335413"/>
                </a:cubicBezTo>
                <a:lnTo>
                  <a:pt x="237631" y="338750"/>
                </a:lnTo>
                <a:cubicBezTo>
                  <a:pt x="235461" y="352631"/>
                  <a:pt x="235508" y="366766"/>
                  <a:pt x="237770" y="380630"/>
                </a:cubicBezTo>
                <a:lnTo>
                  <a:pt x="250285" y="383643"/>
                </a:lnTo>
                <a:cubicBezTo>
                  <a:pt x="275174" y="389639"/>
                  <a:pt x="290490" y="414675"/>
                  <a:pt x="284494" y="439562"/>
                </a:cubicBezTo>
                <a:cubicBezTo>
                  <a:pt x="284313" y="440320"/>
                  <a:pt x="284111" y="441071"/>
                  <a:pt x="283891" y="441817"/>
                </a:cubicBezTo>
                <a:lnTo>
                  <a:pt x="279557" y="456464"/>
                </a:lnTo>
                <a:cubicBezTo>
                  <a:pt x="289755" y="465411"/>
                  <a:pt x="301343" y="472665"/>
                  <a:pt x="313951" y="477833"/>
                </a:cubicBezTo>
                <a:lnTo>
                  <a:pt x="325401" y="465781"/>
                </a:lnTo>
                <a:cubicBezTo>
                  <a:pt x="343045" y="447233"/>
                  <a:pt x="372387" y="446503"/>
                  <a:pt x="390933" y="464148"/>
                </a:cubicBezTo>
                <a:cubicBezTo>
                  <a:pt x="391500" y="464685"/>
                  <a:pt x="392052" y="465239"/>
                  <a:pt x="392590" y="465805"/>
                </a:cubicBezTo>
                <a:lnTo>
                  <a:pt x="404132" y="477972"/>
                </a:lnTo>
                <a:cubicBezTo>
                  <a:pt x="416682" y="472869"/>
                  <a:pt x="428296" y="465719"/>
                  <a:pt x="438503" y="456812"/>
                </a:cubicBezTo>
                <a:lnTo>
                  <a:pt x="433914" y="440913"/>
                </a:lnTo>
                <a:cubicBezTo>
                  <a:pt x="426815" y="416316"/>
                  <a:pt x="440999" y="390622"/>
                  <a:pt x="465596" y="383523"/>
                </a:cubicBezTo>
                <a:cubicBezTo>
                  <a:pt x="466164" y="383361"/>
                  <a:pt x="466737" y="383205"/>
                  <a:pt x="467311" y="383064"/>
                </a:cubicBezTo>
                <a:lnTo>
                  <a:pt x="480847" y="379727"/>
                </a:lnTo>
                <a:cubicBezTo>
                  <a:pt x="483023" y="365839"/>
                  <a:pt x="482976" y="351694"/>
                  <a:pt x="480707" y="337823"/>
                </a:cubicBezTo>
                <a:lnTo>
                  <a:pt x="468192" y="334810"/>
                </a:lnTo>
                <a:cubicBezTo>
                  <a:pt x="443303" y="328814"/>
                  <a:pt x="427987" y="303779"/>
                  <a:pt x="433983" y="278892"/>
                </a:cubicBezTo>
                <a:cubicBezTo>
                  <a:pt x="434164" y="278134"/>
                  <a:pt x="434366" y="277383"/>
                  <a:pt x="434586" y="276637"/>
                </a:cubicBezTo>
                <a:lnTo>
                  <a:pt x="438920" y="262035"/>
                </a:lnTo>
                <a:cubicBezTo>
                  <a:pt x="428722" y="253052"/>
                  <a:pt x="417097" y="245830"/>
                  <a:pt x="404526" y="240667"/>
                </a:cubicBezTo>
                <a:lnTo>
                  <a:pt x="393100" y="252672"/>
                </a:lnTo>
                <a:cubicBezTo>
                  <a:pt x="375467" y="271232"/>
                  <a:pt x="346127" y="271985"/>
                  <a:pt x="327568" y="254352"/>
                </a:cubicBezTo>
                <a:cubicBezTo>
                  <a:pt x="326993" y="253808"/>
                  <a:pt x="326432" y="253247"/>
                  <a:pt x="325887" y="252672"/>
                </a:cubicBezTo>
                <a:lnTo>
                  <a:pt x="314345" y="240504"/>
                </a:lnTo>
                <a:cubicBezTo>
                  <a:pt x="301797" y="245599"/>
                  <a:pt x="290184" y="252742"/>
                  <a:pt x="279974" y="261641"/>
                </a:cubicBezTo>
                <a:lnTo>
                  <a:pt x="284563" y="277564"/>
                </a:lnTo>
                <a:close/>
                <a:moveTo>
                  <a:pt x="359239" y="324473"/>
                </a:moveTo>
                <a:cubicBezTo>
                  <a:pt x="377780" y="324473"/>
                  <a:pt x="392845" y="340048"/>
                  <a:pt x="392845" y="359238"/>
                </a:cubicBezTo>
                <a:cubicBezTo>
                  <a:pt x="392845" y="378429"/>
                  <a:pt x="377780" y="394003"/>
                  <a:pt x="359239" y="394003"/>
                </a:cubicBezTo>
                <a:cubicBezTo>
                  <a:pt x="340697" y="394003"/>
                  <a:pt x="325632" y="378429"/>
                  <a:pt x="325632" y="359238"/>
                </a:cubicBezTo>
                <a:cubicBezTo>
                  <a:pt x="325632" y="340048"/>
                  <a:pt x="340697" y="324473"/>
                  <a:pt x="359239" y="324473"/>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7" name="Graphic 16">
            <a:extLst>
              <a:ext uri="{FF2B5EF4-FFF2-40B4-BE49-F238E27FC236}">
                <a16:creationId xmlns:a16="http://schemas.microsoft.com/office/drawing/2014/main" id="{9C1B44FF-FA10-8285-00E7-DCC5856823B3}"/>
              </a:ext>
              <a:ext uri="{C183D7F6-B498-43B3-948B-1728B52AA6E4}">
                <adec:decorative xmlns:adec="http://schemas.microsoft.com/office/drawing/2017/decorative" val="1"/>
              </a:ext>
            </a:extLst>
          </p:cNvPr>
          <p:cNvSpPr>
            <a:spLocks noChangeAspect="1"/>
          </p:cNvSpPr>
          <p:nvPr/>
        </p:nvSpPr>
        <p:spPr>
          <a:xfrm>
            <a:off x="9622573" y="2668588"/>
            <a:ext cx="681392" cy="715462"/>
          </a:xfrm>
          <a:custGeom>
            <a:avLst/>
            <a:gdLst>
              <a:gd name="connsiteX0" fmla="*/ 57942 w 463532"/>
              <a:gd name="connsiteY0" fmla="*/ 0 h 486709"/>
              <a:gd name="connsiteX1" fmla="*/ 0 w 463532"/>
              <a:gd name="connsiteY1" fmla="*/ 57942 h 486709"/>
              <a:gd name="connsiteX2" fmla="*/ 0 w 463532"/>
              <a:gd name="connsiteY2" fmla="*/ 405591 h 486709"/>
              <a:gd name="connsiteX3" fmla="*/ 57942 w 463532"/>
              <a:gd name="connsiteY3" fmla="*/ 463533 h 486709"/>
              <a:gd name="connsiteX4" fmla="*/ 227363 w 463532"/>
              <a:gd name="connsiteY4" fmla="*/ 463533 h 486709"/>
              <a:gd name="connsiteX5" fmla="*/ 202378 w 463532"/>
              <a:gd name="connsiteY5" fmla="*/ 428768 h 486709"/>
              <a:gd name="connsiteX6" fmla="*/ 57942 w 463532"/>
              <a:gd name="connsiteY6" fmla="*/ 428768 h 486709"/>
              <a:gd name="connsiteX7" fmla="*/ 34765 w 463532"/>
              <a:gd name="connsiteY7" fmla="*/ 405591 h 486709"/>
              <a:gd name="connsiteX8" fmla="*/ 192667 w 463532"/>
              <a:gd name="connsiteY8" fmla="*/ 405591 h 486709"/>
              <a:gd name="connsiteX9" fmla="*/ 289548 w 463532"/>
              <a:gd name="connsiteY9" fmla="*/ 215844 h 486709"/>
              <a:gd name="connsiteX10" fmla="*/ 382414 w 463532"/>
              <a:gd name="connsiteY10" fmla="*/ 215844 h 486709"/>
              <a:gd name="connsiteX11" fmla="*/ 382414 w 463532"/>
              <a:gd name="connsiteY11" fmla="*/ 57942 h 486709"/>
              <a:gd name="connsiteX12" fmla="*/ 324473 w 463532"/>
              <a:gd name="connsiteY12" fmla="*/ 0 h 486709"/>
              <a:gd name="connsiteX13" fmla="*/ 57942 w 463532"/>
              <a:gd name="connsiteY13" fmla="*/ 0 h 486709"/>
              <a:gd name="connsiteX14" fmla="*/ 92707 w 463532"/>
              <a:gd name="connsiteY14" fmla="*/ 69530 h 486709"/>
              <a:gd name="connsiteX15" fmla="*/ 278120 w 463532"/>
              <a:gd name="connsiteY15" fmla="*/ 69530 h 486709"/>
              <a:gd name="connsiteX16" fmla="*/ 301296 w 463532"/>
              <a:gd name="connsiteY16" fmla="*/ 92707 h 486709"/>
              <a:gd name="connsiteX17" fmla="*/ 301296 w 463532"/>
              <a:gd name="connsiteY17" fmla="*/ 115883 h 486709"/>
              <a:gd name="connsiteX18" fmla="*/ 278120 w 463532"/>
              <a:gd name="connsiteY18" fmla="*/ 139060 h 486709"/>
              <a:gd name="connsiteX19" fmla="*/ 92707 w 463532"/>
              <a:gd name="connsiteY19" fmla="*/ 139060 h 486709"/>
              <a:gd name="connsiteX20" fmla="*/ 69530 w 463532"/>
              <a:gd name="connsiteY20" fmla="*/ 115883 h 486709"/>
              <a:gd name="connsiteX21" fmla="*/ 69530 w 463532"/>
              <a:gd name="connsiteY21" fmla="*/ 92707 h 486709"/>
              <a:gd name="connsiteX22" fmla="*/ 92707 w 463532"/>
              <a:gd name="connsiteY22" fmla="*/ 69530 h 486709"/>
              <a:gd name="connsiteX23" fmla="*/ 463533 w 463532"/>
              <a:gd name="connsiteY23" fmla="*/ 359238 h 486709"/>
              <a:gd name="connsiteX24" fmla="*/ 336061 w 463532"/>
              <a:gd name="connsiteY24" fmla="*/ 231766 h 486709"/>
              <a:gd name="connsiteX25" fmla="*/ 208590 w 463532"/>
              <a:gd name="connsiteY25" fmla="*/ 359238 h 486709"/>
              <a:gd name="connsiteX26" fmla="*/ 336061 w 463532"/>
              <a:gd name="connsiteY26" fmla="*/ 486709 h 486709"/>
              <a:gd name="connsiteX27" fmla="*/ 463533 w 463532"/>
              <a:gd name="connsiteY27" fmla="*/ 359238 h 486709"/>
              <a:gd name="connsiteX28" fmla="*/ 347649 w 463532"/>
              <a:gd name="connsiteY28" fmla="*/ 370826 h 486709"/>
              <a:gd name="connsiteX29" fmla="*/ 347673 w 463532"/>
              <a:gd name="connsiteY29" fmla="*/ 428837 h 486709"/>
              <a:gd name="connsiteX30" fmla="*/ 336084 w 463532"/>
              <a:gd name="connsiteY30" fmla="*/ 440425 h 486709"/>
              <a:gd name="connsiteX31" fmla="*/ 324496 w 463532"/>
              <a:gd name="connsiteY31" fmla="*/ 428837 h 486709"/>
              <a:gd name="connsiteX32" fmla="*/ 324496 w 463532"/>
              <a:gd name="connsiteY32" fmla="*/ 370826 h 486709"/>
              <a:gd name="connsiteX33" fmla="*/ 266439 w 463532"/>
              <a:gd name="connsiteY33" fmla="*/ 370826 h 486709"/>
              <a:gd name="connsiteX34" fmla="*/ 254850 w 463532"/>
              <a:gd name="connsiteY34" fmla="*/ 359238 h 486709"/>
              <a:gd name="connsiteX35" fmla="*/ 266439 w 463532"/>
              <a:gd name="connsiteY35" fmla="*/ 347649 h 486709"/>
              <a:gd name="connsiteX36" fmla="*/ 324473 w 463532"/>
              <a:gd name="connsiteY36" fmla="*/ 347649 h 486709"/>
              <a:gd name="connsiteX37" fmla="*/ 324473 w 463532"/>
              <a:gd name="connsiteY37" fmla="*/ 289708 h 486709"/>
              <a:gd name="connsiteX38" fmla="*/ 336061 w 463532"/>
              <a:gd name="connsiteY38" fmla="*/ 278120 h 486709"/>
              <a:gd name="connsiteX39" fmla="*/ 347649 w 463532"/>
              <a:gd name="connsiteY39" fmla="*/ 289708 h 486709"/>
              <a:gd name="connsiteX40" fmla="*/ 347649 w 463532"/>
              <a:gd name="connsiteY40" fmla="*/ 347649 h 486709"/>
              <a:gd name="connsiteX41" fmla="*/ 405660 w 463532"/>
              <a:gd name="connsiteY41" fmla="*/ 347649 h 486709"/>
              <a:gd name="connsiteX42" fmla="*/ 417249 w 463532"/>
              <a:gd name="connsiteY42" fmla="*/ 359238 h 486709"/>
              <a:gd name="connsiteX43" fmla="*/ 405660 w 463532"/>
              <a:gd name="connsiteY43" fmla="*/ 370826 h 486709"/>
              <a:gd name="connsiteX44" fmla="*/ 347673 w 463532"/>
              <a:gd name="connsiteY44" fmla="*/ 370826 h 48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3532" h="486709">
                <a:moveTo>
                  <a:pt x="57942" y="0"/>
                </a:moveTo>
                <a:cubicBezTo>
                  <a:pt x="25941" y="0"/>
                  <a:pt x="0" y="25941"/>
                  <a:pt x="0" y="57942"/>
                </a:cubicBezTo>
                <a:lnTo>
                  <a:pt x="0" y="405591"/>
                </a:lnTo>
                <a:cubicBezTo>
                  <a:pt x="0" y="437591"/>
                  <a:pt x="25941" y="463533"/>
                  <a:pt x="57942" y="463533"/>
                </a:cubicBezTo>
                <a:lnTo>
                  <a:pt x="227363" y="463533"/>
                </a:lnTo>
                <a:cubicBezTo>
                  <a:pt x="217427" y="453189"/>
                  <a:pt x="209014" y="441482"/>
                  <a:pt x="202378" y="428768"/>
                </a:cubicBezTo>
                <a:lnTo>
                  <a:pt x="57942" y="428768"/>
                </a:lnTo>
                <a:cubicBezTo>
                  <a:pt x="45142" y="428768"/>
                  <a:pt x="34765" y="418391"/>
                  <a:pt x="34765" y="405591"/>
                </a:cubicBezTo>
                <a:lnTo>
                  <a:pt x="192667" y="405591"/>
                </a:lnTo>
                <a:cubicBezTo>
                  <a:pt x="167022" y="326440"/>
                  <a:pt x="210397" y="241489"/>
                  <a:pt x="289548" y="215844"/>
                </a:cubicBezTo>
                <a:cubicBezTo>
                  <a:pt x="319731" y="206066"/>
                  <a:pt x="352231" y="206066"/>
                  <a:pt x="382414" y="215844"/>
                </a:cubicBezTo>
                <a:lnTo>
                  <a:pt x="382414" y="57942"/>
                </a:lnTo>
                <a:cubicBezTo>
                  <a:pt x="382414" y="25941"/>
                  <a:pt x="356473" y="0"/>
                  <a:pt x="324473" y="0"/>
                </a:cubicBezTo>
                <a:lnTo>
                  <a:pt x="57942" y="0"/>
                </a:lnTo>
                <a:close/>
                <a:moveTo>
                  <a:pt x="92707" y="69530"/>
                </a:moveTo>
                <a:lnTo>
                  <a:pt x="278120" y="69530"/>
                </a:lnTo>
                <a:cubicBezTo>
                  <a:pt x="290920" y="69530"/>
                  <a:pt x="301296" y="79907"/>
                  <a:pt x="301296" y="92707"/>
                </a:cubicBezTo>
                <a:lnTo>
                  <a:pt x="301296" y="115883"/>
                </a:lnTo>
                <a:cubicBezTo>
                  <a:pt x="301296" y="128683"/>
                  <a:pt x="290920" y="139060"/>
                  <a:pt x="278120" y="139060"/>
                </a:cubicBezTo>
                <a:lnTo>
                  <a:pt x="92707" y="139060"/>
                </a:lnTo>
                <a:cubicBezTo>
                  <a:pt x="79907" y="139060"/>
                  <a:pt x="69530" y="128683"/>
                  <a:pt x="69530" y="115883"/>
                </a:cubicBezTo>
                <a:lnTo>
                  <a:pt x="69530" y="92707"/>
                </a:lnTo>
                <a:cubicBezTo>
                  <a:pt x="69530" y="79907"/>
                  <a:pt x="79907" y="69530"/>
                  <a:pt x="92707" y="69530"/>
                </a:cubicBezTo>
                <a:close/>
                <a:moveTo>
                  <a:pt x="463533" y="359238"/>
                </a:moveTo>
                <a:cubicBezTo>
                  <a:pt x="463533" y="288836"/>
                  <a:pt x="406462" y="231766"/>
                  <a:pt x="336061" y="231766"/>
                </a:cubicBezTo>
                <a:cubicBezTo>
                  <a:pt x="265660" y="231766"/>
                  <a:pt x="208590" y="288836"/>
                  <a:pt x="208590" y="359238"/>
                </a:cubicBezTo>
                <a:cubicBezTo>
                  <a:pt x="208590" y="429639"/>
                  <a:pt x="265660" y="486709"/>
                  <a:pt x="336061" y="486709"/>
                </a:cubicBezTo>
                <a:cubicBezTo>
                  <a:pt x="406462" y="486709"/>
                  <a:pt x="463533" y="429639"/>
                  <a:pt x="463533" y="359238"/>
                </a:cubicBezTo>
                <a:close/>
                <a:moveTo>
                  <a:pt x="347649" y="370826"/>
                </a:moveTo>
                <a:lnTo>
                  <a:pt x="347673" y="428837"/>
                </a:lnTo>
                <a:cubicBezTo>
                  <a:pt x="347673" y="435236"/>
                  <a:pt x="342483" y="440425"/>
                  <a:pt x="336084" y="440425"/>
                </a:cubicBezTo>
                <a:cubicBezTo>
                  <a:pt x="329685" y="440425"/>
                  <a:pt x="324496" y="435236"/>
                  <a:pt x="324496" y="428837"/>
                </a:cubicBezTo>
                <a:lnTo>
                  <a:pt x="324496" y="370826"/>
                </a:lnTo>
                <a:lnTo>
                  <a:pt x="266439" y="370826"/>
                </a:lnTo>
                <a:cubicBezTo>
                  <a:pt x="260039" y="370826"/>
                  <a:pt x="254850" y="365637"/>
                  <a:pt x="254850" y="359238"/>
                </a:cubicBezTo>
                <a:cubicBezTo>
                  <a:pt x="254850" y="352839"/>
                  <a:pt x="260039" y="347649"/>
                  <a:pt x="266439" y="347649"/>
                </a:cubicBezTo>
                <a:lnTo>
                  <a:pt x="324473" y="347649"/>
                </a:lnTo>
                <a:lnTo>
                  <a:pt x="324473" y="289708"/>
                </a:lnTo>
                <a:cubicBezTo>
                  <a:pt x="324473" y="283309"/>
                  <a:pt x="329662" y="278120"/>
                  <a:pt x="336061" y="278120"/>
                </a:cubicBezTo>
                <a:cubicBezTo>
                  <a:pt x="342460" y="278120"/>
                  <a:pt x="347649" y="283309"/>
                  <a:pt x="347649" y="289708"/>
                </a:cubicBezTo>
                <a:lnTo>
                  <a:pt x="347649" y="347649"/>
                </a:lnTo>
                <a:lnTo>
                  <a:pt x="405660" y="347649"/>
                </a:lnTo>
                <a:cubicBezTo>
                  <a:pt x="412060" y="347649"/>
                  <a:pt x="417249" y="352839"/>
                  <a:pt x="417249" y="359238"/>
                </a:cubicBezTo>
                <a:cubicBezTo>
                  <a:pt x="417249" y="365637"/>
                  <a:pt x="412060" y="370826"/>
                  <a:pt x="405660" y="370826"/>
                </a:cubicBezTo>
                <a:lnTo>
                  <a:pt x="347673" y="370826"/>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8" name="Graphic 18">
            <a:extLst>
              <a:ext uri="{FF2B5EF4-FFF2-40B4-BE49-F238E27FC236}">
                <a16:creationId xmlns:a16="http://schemas.microsoft.com/office/drawing/2014/main" id="{24D50990-D36B-24E0-10B1-02DBC744BE31}"/>
              </a:ext>
              <a:ext uri="{C183D7F6-B498-43B3-948B-1728B52AA6E4}">
                <adec:decorative xmlns:adec="http://schemas.microsoft.com/office/drawing/2017/decorative" val="1"/>
              </a:ext>
            </a:extLst>
          </p:cNvPr>
          <p:cNvSpPr>
            <a:spLocks noChangeAspect="1"/>
          </p:cNvSpPr>
          <p:nvPr/>
        </p:nvSpPr>
        <p:spPr>
          <a:xfrm>
            <a:off x="5759178" y="2701385"/>
            <a:ext cx="681392" cy="681051"/>
          </a:xfrm>
          <a:custGeom>
            <a:avLst/>
            <a:gdLst>
              <a:gd name="connsiteX0" fmla="*/ 188658 w 463532"/>
              <a:gd name="connsiteY0" fmla="*/ 0 h 463300"/>
              <a:gd name="connsiteX1" fmla="*/ 214384 w 463532"/>
              <a:gd name="connsiteY1" fmla="*/ 32702 h 463300"/>
              <a:gd name="connsiteX2" fmla="*/ 214384 w 463532"/>
              <a:gd name="connsiteY2" fmla="*/ 133127 h 463300"/>
              <a:gd name="connsiteX3" fmla="*/ 193641 w 463532"/>
              <a:gd name="connsiteY3" fmla="*/ 133127 h 463300"/>
              <a:gd name="connsiteX4" fmla="*/ 133288 w 463532"/>
              <a:gd name="connsiteY4" fmla="*/ 107538 h 463300"/>
              <a:gd name="connsiteX5" fmla="*/ 107699 w 463532"/>
              <a:gd name="connsiteY5" fmla="*/ 167891 h 463300"/>
              <a:gd name="connsiteX6" fmla="*/ 168053 w 463532"/>
              <a:gd name="connsiteY6" fmla="*/ 193478 h 463300"/>
              <a:gd name="connsiteX7" fmla="*/ 193641 w 463532"/>
              <a:gd name="connsiteY7" fmla="*/ 167891 h 463300"/>
              <a:gd name="connsiteX8" fmla="*/ 214384 w 463532"/>
              <a:gd name="connsiteY8" fmla="*/ 167891 h 463300"/>
              <a:gd name="connsiteX9" fmla="*/ 214384 w 463532"/>
              <a:gd name="connsiteY9" fmla="*/ 420470 h 463300"/>
              <a:gd name="connsiteX10" fmla="*/ 196236 w 463532"/>
              <a:gd name="connsiteY10" fmla="*/ 454308 h 463300"/>
              <a:gd name="connsiteX11" fmla="*/ 160081 w 463532"/>
              <a:gd name="connsiteY11" fmla="*/ 463301 h 463300"/>
              <a:gd name="connsiteX12" fmla="*/ 82300 w 463532"/>
              <a:gd name="connsiteY12" fmla="*/ 424642 h 463300"/>
              <a:gd name="connsiteX13" fmla="*/ 58660 w 463532"/>
              <a:gd name="connsiteY13" fmla="*/ 375114 h 463300"/>
              <a:gd name="connsiteX14" fmla="*/ 29249 w 463532"/>
              <a:gd name="connsiteY14" fmla="*/ 359122 h 463300"/>
              <a:gd name="connsiteX15" fmla="*/ 0 w 463532"/>
              <a:gd name="connsiteY15" fmla="*/ 288781 h 463300"/>
              <a:gd name="connsiteX16" fmla="*/ 4404 w 463532"/>
              <a:gd name="connsiteY16" fmla="*/ 243216 h 463300"/>
              <a:gd name="connsiteX17" fmla="*/ 101977 w 463532"/>
              <a:gd name="connsiteY17" fmla="*/ 243216 h 463300"/>
              <a:gd name="connsiteX18" fmla="*/ 132918 w 463532"/>
              <a:gd name="connsiteY18" fmla="*/ 269892 h 463300"/>
              <a:gd name="connsiteX19" fmla="*/ 107805 w 463532"/>
              <a:gd name="connsiteY19" fmla="*/ 330445 h 463300"/>
              <a:gd name="connsiteX20" fmla="*/ 168358 w 463532"/>
              <a:gd name="connsiteY20" fmla="*/ 355557 h 463300"/>
              <a:gd name="connsiteX21" fmla="*/ 193472 w 463532"/>
              <a:gd name="connsiteY21" fmla="*/ 295004 h 463300"/>
              <a:gd name="connsiteX22" fmla="*/ 167845 w 463532"/>
              <a:gd name="connsiteY22" fmla="*/ 269683 h 463300"/>
              <a:gd name="connsiteX23" fmla="*/ 101977 w 463532"/>
              <a:gd name="connsiteY23" fmla="*/ 208451 h 463300"/>
              <a:gd name="connsiteX24" fmla="*/ 24104 w 463532"/>
              <a:gd name="connsiteY24" fmla="*/ 208451 h 463300"/>
              <a:gd name="connsiteX25" fmla="*/ 35576 w 463532"/>
              <a:gd name="connsiteY25" fmla="*/ 201451 h 463300"/>
              <a:gd name="connsiteX26" fmla="*/ 31451 w 463532"/>
              <a:gd name="connsiteY26" fmla="*/ 175331 h 463300"/>
              <a:gd name="connsiteX27" fmla="*/ 38288 w 463532"/>
              <a:gd name="connsiteY27" fmla="*/ 124783 h 463300"/>
              <a:gd name="connsiteX28" fmla="*/ 62345 w 463532"/>
              <a:gd name="connsiteY28" fmla="*/ 83668 h 463300"/>
              <a:gd name="connsiteX29" fmla="*/ 87747 w 463532"/>
              <a:gd name="connsiteY29" fmla="*/ 70526 h 463300"/>
              <a:gd name="connsiteX30" fmla="*/ 119105 w 463532"/>
              <a:gd name="connsiteY30" fmla="*/ 23316 h 463300"/>
              <a:gd name="connsiteX31" fmla="*/ 188635 w 463532"/>
              <a:gd name="connsiteY31" fmla="*/ 0 h 463300"/>
              <a:gd name="connsiteX32" fmla="*/ 249149 w 463532"/>
              <a:gd name="connsiteY32" fmla="*/ 347510 h 463300"/>
              <a:gd name="connsiteX33" fmla="*/ 287390 w 463532"/>
              <a:gd name="connsiteY33" fmla="*/ 347510 h 463300"/>
              <a:gd name="connsiteX34" fmla="*/ 353444 w 463532"/>
              <a:gd name="connsiteY34" fmla="*/ 281457 h 463300"/>
              <a:gd name="connsiteX35" fmla="*/ 353444 w 463532"/>
              <a:gd name="connsiteY35" fmla="*/ 239855 h 463300"/>
              <a:gd name="connsiteX36" fmla="*/ 379031 w 463532"/>
              <a:gd name="connsiteY36" fmla="*/ 179502 h 463300"/>
              <a:gd name="connsiteX37" fmla="*/ 318679 w 463532"/>
              <a:gd name="connsiteY37" fmla="*/ 153914 h 463300"/>
              <a:gd name="connsiteX38" fmla="*/ 293092 w 463532"/>
              <a:gd name="connsiteY38" fmla="*/ 214266 h 463300"/>
              <a:gd name="connsiteX39" fmla="*/ 318679 w 463532"/>
              <a:gd name="connsiteY39" fmla="*/ 239855 h 463300"/>
              <a:gd name="connsiteX40" fmla="*/ 318679 w 463532"/>
              <a:gd name="connsiteY40" fmla="*/ 281457 h 463300"/>
              <a:gd name="connsiteX41" fmla="*/ 287390 w 463532"/>
              <a:gd name="connsiteY41" fmla="*/ 312745 h 463300"/>
              <a:gd name="connsiteX42" fmla="*/ 249149 w 463532"/>
              <a:gd name="connsiteY42" fmla="*/ 312745 h 463300"/>
              <a:gd name="connsiteX43" fmla="*/ 249149 w 463532"/>
              <a:gd name="connsiteY43" fmla="*/ 32702 h 463300"/>
              <a:gd name="connsiteX44" fmla="*/ 274875 w 463532"/>
              <a:gd name="connsiteY44" fmla="*/ 0 h 463300"/>
              <a:gd name="connsiteX45" fmla="*/ 344428 w 463532"/>
              <a:gd name="connsiteY45" fmla="*/ 23316 h 463300"/>
              <a:gd name="connsiteX46" fmla="*/ 375786 w 463532"/>
              <a:gd name="connsiteY46" fmla="*/ 70526 h 463300"/>
              <a:gd name="connsiteX47" fmla="*/ 401187 w 463532"/>
              <a:gd name="connsiteY47" fmla="*/ 83668 h 463300"/>
              <a:gd name="connsiteX48" fmla="*/ 425245 w 463532"/>
              <a:gd name="connsiteY48" fmla="*/ 124783 h 463300"/>
              <a:gd name="connsiteX49" fmla="*/ 432082 w 463532"/>
              <a:gd name="connsiteY49" fmla="*/ 175331 h 463300"/>
              <a:gd name="connsiteX50" fmla="*/ 427956 w 463532"/>
              <a:gd name="connsiteY50" fmla="*/ 201451 h 463300"/>
              <a:gd name="connsiteX51" fmla="*/ 429486 w 463532"/>
              <a:gd name="connsiteY51" fmla="*/ 202147 h 463300"/>
              <a:gd name="connsiteX52" fmla="*/ 450206 w 463532"/>
              <a:gd name="connsiteY52" fmla="*/ 220920 h 463300"/>
              <a:gd name="connsiteX53" fmla="*/ 463533 w 463532"/>
              <a:gd name="connsiteY53" fmla="*/ 288781 h 463300"/>
              <a:gd name="connsiteX54" fmla="*/ 434284 w 463532"/>
              <a:gd name="connsiteY54" fmla="*/ 359122 h 463300"/>
              <a:gd name="connsiteX55" fmla="*/ 404849 w 463532"/>
              <a:gd name="connsiteY55" fmla="*/ 375114 h 463300"/>
              <a:gd name="connsiteX56" fmla="*/ 381232 w 463532"/>
              <a:gd name="connsiteY56" fmla="*/ 424642 h 463300"/>
              <a:gd name="connsiteX57" fmla="*/ 303428 w 463532"/>
              <a:gd name="connsiteY57" fmla="*/ 463301 h 463300"/>
              <a:gd name="connsiteX58" fmla="*/ 267273 w 463532"/>
              <a:gd name="connsiteY58" fmla="*/ 454331 h 463300"/>
              <a:gd name="connsiteX59" fmla="*/ 249149 w 463532"/>
              <a:gd name="connsiteY59" fmla="*/ 420470 h 463300"/>
              <a:gd name="connsiteX60" fmla="*/ 249149 w 463532"/>
              <a:gd name="connsiteY60" fmla="*/ 347510 h 463300"/>
              <a:gd name="connsiteX61" fmla="*/ 139060 w 463532"/>
              <a:gd name="connsiteY61" fmla="*/ 150509 h 463300"/>
              <a:gd name="connsiteX62" fmla="*/ 150648 w 463532"/>
              <a:gd name="connsiteY62" fmla="*/ 138921 h 463300"/>
              <a:gd name="connsiteX63" fmla="*/ 162236 w 463532"/>
              <a:gd name="connsiteY63" fmla="*/ 150509 h 463300"/>
              <a:gd name="connsiteX64" fmla="*/ 150648 w 463532"/>
              <a:gd name="connsiteY64" fmla="*/ 162097 h 463300"/>
              <a:gd name="connsiteX65" fmla="*/ 139060 w 463532"/>
              <a:gd name="connsiteY65" fmla="*/ 150509 h 463300"/>
              <a:gd name="connsiteX66" fmla="*/ 150648 w 463532"/>
              <a:gd name="connsiteY66" fmla="*/ 301157 h 463300"/>
              <a:gd name="connsiteX67" fmla="*/ 139060 w 463532"/>
              <a:gd name="connsiteY67" fmla="*/ 312745 h 463300"/>
              <a:gd name="connsiteX68" fmla="*/ 150648 w 463532"/>
              <a:gd name="connsiteY68" fmla="*/ 324334 h 463300"/>
              <a:gd name="connsiteX69" fmla="*/ 162236 w 463532"/>
              <a:gd name="connsiteY69" fmla="*/ 312745 h 463300"/>
              <a:gd name="connsiteX70" fmla="*/ 150648 w 463532"/>
              <a:gd name="connsiteY70" fmla="*/ 301157 h 463300"/>
              <a:gd name="connsiteX71" fmla="*/ 324473 w 463532"/>
              <a:gd name="connsiteY71" fmla="*/ 196862 h 463300"/>
              <a:gd name="connsiteX72" fmla="*/ 336061 w 463532"/>
              <a:gd name="connsiteY72" fmla="*/ 208451 h 463300"/>
              <a:gd name="connsiteX73" fmla="*/ 347649 w 463532"/>
              <a:gd name="connsiteY73" fmla="*/ 196862 h 463300"/>
              <a:gd name="connsiteX74" fmla="*/ 336061 w 463532"/>
              <a:gd name="connsiteY74" fmla="*/ 185274 h 463300"/>
              <a:gd name="connsiteX75" fmla="*/ 324473 w 463532"/>
              <a:gd name="connsiteY75" fmla="*/ 196862 h 46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3532" h="463300">
                <a:moveTo>
                  <a:pt x="188658" y="0"/>
                </a:moveTo>
                <a:cubicBezTo>
                  <a:pt x="205044" y="0"/>
                  <a:pt x="214384" y="16316"/>
                  <a:pt x="214384" y="32702"/>
                </a:cubicBezTo>
                <a:lnTo>
                  <a:pt x="214384" y="133127"/>
                </a:lnTo>
                <a:lnTo>
                  <a:pt x="193641" y="133127"/>
                </a:lnTo>
                <a:cubicBezTo>
                  <a:pt x="184041" y="109395"/>
                  <a:pt x="157020" y="97938"/>
                  <a:pt x="133288" y="107538"/>
                </a:cubicBezTo>
                <a:cubicBezTo>
                  <a:pt x="109556" y="117138"/>
                  <a:pt x="98099" y="144160"/>
                  <a:pt x="107699" y="167891"/>
                </a:cubicBezTo>
                <a:cubicBezTo>
                  <a:pt x="117299" y="191624"/>
                  <a:pt x="144321" y="203081"/>
                  <a:pt x="168053" y="193478"/>
                </a:cubicBezTo>
                <a:cubicBezTo>
                  <a:pt x="179696" y="188769"/>
                  <a:pt x="188931" y="179535"/>
                  <a:pt x="193641" y="167891"/>
                </a:cubicBezTo>
                <a:lnTo>
                  <a:pt x="214384" y="167891"/>
                </a:lnTo>
                <a:lnTo>
                  <a:pt x="214384" y="420470"/>
                </a:lnTo>
                <a:cubicBezTo>
                  <a:pt x="214384" y="434284"/>
                  <a:pt x="208543" y="448027"/>
                  <a:pt x="196236" y="454308"/>
                </a:cubicBezTo>
                <a:cubicBezTo>
                  <a:pt x="185077" y="460153"/>
                  <a:pt x="172678" y="463238"/>
                  <a:pt x="160081" y="463301"/>
                </a:cubicBezTo>
                <a:cubicBezTo>
                  <a:pt x="125084" y="463301"/>
                  <a:pt x="99057" y="445594"/>
                  <a:pt x="82300" y="424642"/>
                </a:cubicBezTo>
                <a:cubicBezTo>
                  <a:pt x="70695" y="410185"/>
                  <a:pt x="62603" y="393229"/>
                  <a:pt x="58660" y="375114"/>
                </a:cubicBezTo>
                <a:cubicBezTo>
                  <a:pt x="47837" y="371920"/>
                  <a:pt x="37813" y="366469"/>
                  <a:pt x="29249" y="359122"/>
                </a:cubicBezTo>
                <a:cubicBezTo>
                  <a:pt x="12793" y="344961"/>
                  <a:pt x="0" y="322248"/>
                  <a:pt x="0" y="288781"/>
                </a:cubicBezTo>
                <a:cubicBezTo>
                  <a:pt x="0" y="271282"/>
                  <a:pt x="1252" y="256032"/>
                  <a:pt x="4404" y="243216"/>
                </a:cubicBezTo>
                <a:lnTo>
                  <a:pt x="101977" y="243216"/>
                </a:lnTo>
                <a:cubicBezTo>
                  <a:pt x="117691" y="243216"/>
                  <a:pt x="130716" y="254804"/>
                  <a:pt x="132918" y="269892"/>
                </a:cubicBezTo>
                <a:cubicBezTo>
                  <a:pt x="109262" y="279679"/>
                  <a:pt x="98019" y="306789"/>
                  <a:pt x="107805" y="330445"/>
                </a:cubicBezTo>
                <a:cubicBezTo>
                  <a:pt x="117592" y="354099"/>
                  <a:pt x="144702" y="365342"/>
                  <a:pt x="168358" y="355557"/>
                </a:cubicBezTo>
                <a:cubicBezTo>
                  <a:pt x="192014" y="345770"/>
                  <a:pt x="203257" y="318660"/>
                  <a:pt x="193472" y="295004"/>
                </a:cubicBezTo>
                <a:cubicBezTo>
                  <a:pt x="188693" y="283455"/>
                  <a:pt x="179452" y="274323"/>
                  <a:pt x="167845" y="269683"/>
                </a:cubicBezTo>
                <a:cubicBezTo>
                  <a:pt x="165320" y="235169"/>
                  <a:pt x="136584" y="208455"/>
                  <a:pt x="101977" y="208451"/>
                </a:cubicBezTo>
                <a:lnTo>
                  <a:pt x="24104" y="208451"/>
                </a:lnTo>
                <a:cubicBezTo>
                  <a:pt x="27574" y="205581"/>
                  <a:pt x="31438" y="203224"/>
                  <a:pt x="35576" y="201451"/>
                </a:cubicBezTo>
                <a:cubicBezTo>
                  <a:pt x="33187" y="192936"/>
                  <a:pt x="31803" y="184169"/>
                  <a:pt x="31451" y="175331"/>
                </a:cubicBezTo>
                <a:cubicBezTo>
                  <a:pt x="30686" y="158296"/>
                  <a:pt x="33235" y="140566"/>
                  <a:pt x="38288" y="124783"/>
                </a:cubicBezTo>
                <a:cubicBezTo>
                  <a:pt x="43294" y="109255"/>
                  <a:pt x="51220" y="94120"/>
                  <a:pt x="62345" y="83668"/>
                </a:cubicBezTo>
                <a:cubicBezTo>
                  <a:pt x="69324" y="76868"/>
                  <a:pt x="78165" y="72294"/>
                  <a:pt x="87747" y="70526"/>
                </a:cubicBezTo>
                <a:cubicBezTo>
                  <a:pt x="92359" y="51058"/>
                  <a:pt x="104109" y="34974"/>
                  <a:pt x="119105" y="23316"/>
                </a:cubicBezTo>
                <a:cubicBezTo>
                  <a:pt x="138364" y="8297"/>
                  <a:pt x="163604" y="0"/>
                  <a:pt x="188635" y="0"/>
                </a:cubicBezTo>
                <a:close/>
                <a:moveTo>
                  <a:pt x="249149" y="347510"/>
                </a:moveTo>
                <a:lnTo>
                  <a:pt x="287390" y="347510"/>
                </a:lnTo>
                <a:cubicBezTo>
                  <a:pt x="323870" y="347510"/>
                  <a:pt x="353444" y="317937"/>
                  <a:pt x="353444" y="281457"/>
                </a:cubicBezTo>
                <a:lnTo>
                  <a:pt x="353444" y="239855"/>
                </a:lnTo>
                <a:cubicBezTo>
                  <a:pt x="377176" y="230255"/>
                  <a:pt x="388633" y="203234"/>
                  <a:pt x="379031" y="179502"/>
                </a:cubicBezTo>
                <a:cubicBezTo>
                  <a:pt x="369431" y="155770"/>
                  <a:pt x="342411" y="144314"/>
                  <a:pt x="318679" y="153914"/>
                </a:cubicBezTo>
                <a:cubicBezTo>
                  <a:pt x="294946" y="163514"/>
                  <a:pt x="283490" y="190535"/>
                  <a:pt x="293092" y="214266"/>
                </a:cubicBezTo>
                <a:cubicBezTo>
                  <a:pt x="297801" y="225912"/>
                  <a:pt x="307035" y="235145"/>
                  <a:pt x="318679" y="239855"/>
                </a:cubicBezTo>
                <a:lnTo>
                  <a:pt x="318679" y="281457"/>
                </a:lnTo>
                <a:cubicBezTo>
                  <a:pt x="318679" y="298737"/>
                  <a:pt x="304671" y="312745"/>
                  <a:pt x="287390" y="312745"/>
                </a:cubicBezTo>
                <a:lnTo>
                  <a:pt x="249149" y="312745"/>
                </a:lnTo>
                <a:lnTo>
                  <a:pt x="249149" y="32702"/>
                </a:lnTo>
                <a:cubicBezTo>
                  <a:pt x="249149" y="16316"/>
                  <a:pt x="258489" y="0"/>
                  <a:pt x="274875" y="0"/>
                </a:cubicBezTo>
                <a:cubicBezTo>
                  <a:pt x="299952" y="0"/>
                  <a:pt x="325168" y="8297"/>
                  <a:pt x="344428" y="23316"/>
                </a:cubicBezTo>
                <a:cubicBezTo>
                  <a:pt x="359423" y="34974"/>
                  <a:pt x="371174" y="51081"/>
                  <a:pt x="375786" y="70526"/>
                </a:cubicBezTo>
                <a:cubicBezTo>
                  <a:pt x="385520" y="72149"/>
                  <a:pt x="394188" y="77109"/>
                  <a:pt x="401187" y="83668"/>
                </a:cubicBezTo>
                <a:cubicBezTo>
                  <a:pt x="412312" y="94120"/>
                  <a:pt x="420239" y="109231"/>
                  <a:pt x="425245" y="124783"/>
                </a:cubicBezTo>
                <a:cubicBezTo>
                  <a:pt x="430297" y="140566"/>
                  <a:pt x="432847" y="158296"/>
                  <a:pt x="432082" y="175331"/>
                </a:cubicBezTo>
                <a:cubicBezTo>
                  <a:pt x="431688" y="184046"/>
                  <a:pt x="430413" y="192945"/>
                  <a:pt x="427956" y="201451"/>
                </a:cubicBezTo>
                <a:lnTo>
                  <a:pt x="429486" y="202147"/>
                </a:lnTo>
                <a:cubicBezTo>
                  <a:pt x="438061" y="206179"/>
                  <a:pt x="445014" y="212506"/>
                  <a:pt x="450206" y="220920"/>
                </a:cubicBezTo>
                <a:cubicBezTo>
                  <a:pt x="460056" y="236796"/>
                  <a:pt x="463533" y="259648"/>
                  <a:pt x="463533" y="288781"/>
                </a:cubicBezTo>
                <a:cubicBezTo>
                  <a:pt x="463533" y="322271"/>
                  <a:pt x="450739" y="345007"/>
                  <a:pt x="434284" y="359122"/>
                </a:cubicBezTo>
                <a:cubicBezTo>
                  <a:pt x="425713" y="366473"/>
                  <a:pt x="415680" y="371922"/>
                  <a:pt x="404849" y="375114"/>
                </a:cubicBezTo>
                <a:cubicBezTo>
                  <a:pt x="400912" y="393226"/>
                  <a:pt x="392828" y="410180"/>
                  <a:pt x="381232" y="424642"/>
                </a:cubicBezTo>
                <a:cubicBezTo>
                  <a:pt x="364476" y="445594"/>
                  <a:pt x="338448" y="463301"/>
                  <a:pt x="303428" y="463301"/>
                </a:cubicBezTo>
                <a:cubicBezTo>
                  <a:pt x="290832" y="463245"/>
                  <a:pt x="278435" y="460170"/>
                  <a:pt x="267273" y="454331"/>
                </a:cubicBezTo>
                <a:cubicBezTo>
                  <a:pt x="254989" y="448027"/>
                  <a:pt x="249149" y="434284"/>
                  <a:pt x="249149" y="420470"/>
                </a:cubicBezTo>
                <a:lnTo>
                  <a:pt x="249149" y="347510"/>
                </a:lnTo>
                <a:close/>
                <a:moveTo>
                  <a:pt x="139060" y="150509"/>
                </a:moveTo>
                <a:cubicBezTo>
                  <a:pt x="139060" y="144109"/>
                  <a:pt x="144248" y="138921"/>
                  <a:pt x="150648" y="138921"/>
                </a:cubicBezTo>
                <a:cubicBezTo>
                  <a:pt x="157048" y="138921"/>
                  <a:pt x="162236" y="144109"/>
                  <a:pt x="162236" y="150509"/>
                </a:cubicBezTo>
                <a:cubicBezTo>
                  <a:pt x="162236" y="156909"/>
                  <a:pt x="157048" y="162097"/>
                  <a:pt x="150648" y="162097"/>
                </a:cubicBezTo>
                <a:cubicBezTo>
                  <a:pt x="144248" y="162097"/>
                  <a:pt x="139060" y="156909"/>
                  <a:pt x="139060" y="150509"/>
                </a:cubicBezTo>
                <a:close/>
                <a:moveTo>
                  <a:pt x="150648" y="301157"/>
                </a:moveTo>
                <a:cubicBezTo>
                  <a:pt x="144248" y="301157"/>
                  <a:pt x="139060" y="306346"/>
                  <a:pt x="139060" y="312745"/>
                </a:cubicBezTo>
                <a:cubicBezTo>
                  <a:pt x="139060" y="319144"/>
                  <a:pt x="144248" y="324334"/>
                  <a:pt x="150648" y="324334"/>
                </a:cubicBezTo>
                <a:cubicBezTo>
                  <a:pt x="157048" y="324334"/>
                  <a:pt x="162236" y="319144"/>
                  <a:pt x="162236" y="312745"/>
                </a:cubicBezTo>
                <a:cubicBezTo>
                  <a:pt x="162236" y="306346"/>
                  <a:pt x="157048" y="301157"/>
                  <a:pt x="150648" y="301157"/>
                </a:cubicBezTo>
                <a:close/>
                <a:moveTo>
                  <a:pt x="324473" y="196862"/>
                </a:moveTo>
                <a:cubicBezTo>
                  <a:pt x="324473" y="203261"/>
                  <a:pt x="329662" y="208451"/>
                  <a:pt x="336061" y="208451"/>
                </a:cubicBezTo>
                <a:cubicBezTo>
                  <a:pt x="342460" y="208451"/>
                  <a:pt x="347649" y="203261"/>
                  <a:pt x="347649" y="196862"/>
                </a:cubicBezTo>
                <a:cubicBezTo>
                  <a:pt x="347649" y="190463"/>
                  <a:pt x="342460" y="185274"/>
                  <a:pt x="336061" y="185274"/>
                </a:cubicBezTo>
                <a:cubicBezTo>
                  <a:pt x="329662" y="185274"/>
                  <a:pt x="324473" y="190463"/>
                  <a:pt x="324473" y="196862"/>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5" name="Rectangle 4">
            <a:extLst>
              <a:ext uri="{FF2B5EF4-FFF2-40B4-BE49-F238E27FC236}">
                <a16:creationId xmlns:a16="http://schemas.microsoft.com/office/drawing/2014/main" id="{9E5C0280-ACF8-DE64-CB44-71C2E980A6E0}"/>
              </a:ext>
            </a:extLst>
          </p:cNvPr>
          <p:cNvSpPr/>
          <p:nvPr/>
        </p:nvSpPr>
        <p:spPr bwMode="auto">
          <a:xfrm>
            <a:off x="4453954" y="1687855"/>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B8D2786B-E83C-1DD3-2BE3-980D3DAC6F8A}"/>
              </a:ext>
            </a:extLst>
          </p:cNvPr>
          <p:cNvSpPr/>
          <p:nvPr/>
        </p:nvSpPr>
        <p:spPr bwMode="auto">
          <a:xfrm>
            <a:off x="530942" y="1688690"/>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041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200"/>
                                  </p:stCondLst>
                                  <p:childTnLst>
                                    <p:animMotion origin="layout" path="M -3.54167E-6 -1.11111E-6 L -3.54167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400"/>
                                  </p:stCondLst>
                                  <p:childTnLst>
                                    <p:animMotion origin="layout" path="M -4.16667E-7 -1.11111E-6 L -4.16667E-7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600"/>
                                  </p:stCondLst>
                                  <p:childTnLst>
                                    <p:animMotion origin="layout" path="M 2.5E-6 -1.11111E-6 L 2.5E-6 0.03542 " pathEditMode="relative" rAng="0" ptsTypes="AA">
                                      <p:cBhvr>
                                        <p:cTn id="19" dur="700" spd="-100000" fill="hold"/>
                                        <p:tgtEl>
                                          <p:spTgt spid="15"/>
                                        </p:tgtEl>
                                        <p:attrNameLst>
                                          <p:attrName>ppt_x</p:attrName>
                                          <p:attrName>ppt_y</p:attrName>
                                        </p:attrNameLst>
                                      </p:cBhvr>
                                      <p:rCtr x="0" y="1759"/>
                                    </p:animMotion>
                                  </p:childTnLst>
                                </p:cTn>
                              </p:par>
                              <p:par>
                                <p:cTn id="20" presetID="23" presetClass="entr" presetSubtype="16" fill="hold" grpId="0" nodeType="withEffect">
                                  <p:stCondLst>
                                    <p:cond delay="200"/>
                                  </p:stCondLst>
                                  <p:childTnLst>
                                    <p:set>
                                      <p:cBhvr>
                                        <p:cTn id="21" dur="1" fill="hold">
                                          <p:stCondLst>
                                            <p:cond delay="0"/>
                                          </p:stCondLst>
                                        </p:cTn>
                                        <p:tgtEl>
                                          <p:spTgt spid="16"/>
                                        </p:tgtEl>
                                        <p:attrNameLst>
                                          <p:attrName>style.visibility</p:attrName>
                                        </p:attrNameLst>
                                      </p:cBhvr>
                                      <p:to>
                                        <p:strVal val="visible"/>
                                      </p:to>
                                    </p:set>
                                    <p:anim calcmode="lin" valueType="num">
                                      <p:cBhvr>
                                        <p:cTn id="22" dur="400" fill="hold"/>
                                        <p:tgtEl>
                                          <p:spTgt spid="16"/>
                                        </p:tgtEl>
                                        <p:attrNameLst>
                                          <p:attrName>ppt_w</p:attrName>
                                        </p:attrNameLst>
                                      </p:cBhvr>
                                      <p:tavLst>
                                        <p:tav tm="0">
                                          <p:val>
                                            <p:fltVal val="0"/>
                                          </p:val>
                                        </p:tav>
                                        <p:tav tm="100000">
                                          <p:val>
                                            <p:strVal val="#ppt_w"/>
                                          </p:val>
                                        </p:tav>
                                      </p:tavLst>
                                    </p:anim>
                                    <p:anim calcmode="lin" valueType="num">
                                      <p:cBhvr>
                                        <p:cTn id="23" dur="400" fill="hold"/>
                                        <p:tgtEl>
                                          <p:spTgt spid="16"/>
                                        </p:tgtEl>
                                        <p:attrNameLst>
                                          <p:attrName>ppt_h</p:attrName>
                                        </p:attrNameLst>
                                      </p:cBhvr>
                                      <p:tavLst>
                                        <p:tav tm="0">
                                          <p:val>
                                            <p:fltVal val="0"/>
                                          </p:val>
                                        </p:tav>
                                        <p:tav tm="100000">
                                          <p:val>
                                            <p:strVal val="#ppt_h"/>
                                          </p:val>
                                        </p:tav>
                                      </p:tavLst>
                                    </p:anim>
                                  </p:childTnLst>
                                </p:cTn>
                              </p:par>
                              <p:par>
                                <p:cTn id="24" presetID="6" presetClass="emph" presetSubtype="0" accel="100000" autoRev="1" fill="hold" grpId="1" nodeType="withEffect">
                                  <p:stCondLst>
                                    <p:cond delay="200"/>
                                  </p:stCondLst>
                                  <p:childTnLst>
                                    <p:animScale>
                                      <p:cBhvr>
                                        <p:cTn id="25" dur="400" fill="hold"/>
                                        <p:tgtEl>
                                          <p:spTgt spid="16"/>
                                        </p:tgtEl>
                                      </p:cBhvr>
                                      <p:by x="110000" y="110000"/>
                                    </p:animScale>
                                  </p:childTnLst>
                                </p:cTn>
                              </p:par>
                              <p:par>
                                <p:cTn id="26" presetID="23" presetClass="entr" presetSubtype="16" fill="hold" grpId="0" nodeType="withEffect">
                                  <p:stCondLst>
                                    <p:cond delay="400"/>
                                  </p:stCondLst>
                                  <p:childTnLst>
                                    <p:set>
                                      <p:cBhvr>
                                        <p:cTn id="27" dur="1" fill="hold">
                                          <p:stCondLst>
                                            <p:cond delay="0"/>
                                          </p:stCondLst>
                                        </p:cTn>
                                        <p:tgtEl>
                                          <p:spTgt spid="18"/>
                                        </p:tgtEl>
                                        <p:attrNameLst>
                                          <p:attrName>style.visibility</p:attrName>
                                        </p:attrNameLst>
                                      </p:cBhvr>
                                      <p:to>
                                        <p:strVal val="visible"/>
                                      </p:to>
                                    </p:set>
                                    <p:anim calcmode="lin" valueType="num">
                                      <p:cBhvr>
                                        <p:cTn id="28" dur="400" fill="hold"/>
                                        <p:tgtEl>
                                          <p:spTgt spid="18"/>
                                        </p:tgtEl>
                                        <p:attrNameLst>
                                          <p:attrName>ppt_w</p:attrName>
                                        </p:attrNameLst>
                                      </p:cBhvr>
                                      <p:tavLst>
                                        <p:tav tm="0">
                                          <p:val>
                                            <p:fltVal val="0"/>
                                          </p:val>
                                        </p:tav>
                                        <p:tav tm="100000">
                                          <p:val>
                                            <p:strVal val="#ppt_w"/>
                                          </p:val>
                                        </p:tav>
                                      </p:tavLst>
                                    </p:anim>
                                    <p:anim calcmode="lin" valueType="num">
                                      <p:cBhvr>
                                        <p:cTn id="29" dur="400" fill="hold"/>
                                        <p:tgtEl>
                                          <p:spTgt spid="18"/>
                                        </p:tgtEl>
                                        <p:attrNameLst>
                                          <p:attrName>ppt_h</p:attrName>
                                        </p:attrNameLst>
                                      </p:cBhvr>
                                      <p:tavLst>
                                        <p:tav tm="0">
                                          <p:val>
                                            <p:fltVal val="0"/>
                                          </p:val>
                                        </p:tav>
                                        <p:tav tm="100000">
                                          <p:val>
                                            <p:strVal val="#ppt_h"/>
                                          </p:val>
                                        </p:tav>
                                      </p:tavLst>
                                    </p:anim>
                                  </p:childTnLst>
                                </p:cTn>
                              </p:par>
                              <p:par>
                                <p:cTn id="30" presetID="6" presetClass="emph" presetSubtype="0" accel="100000" autoRev="1" fill="hold" grpId="1" nodeType="withEffect">
                                  <p:stCondLst>
                                    <p:cond delay="400"/>
                                  </p:stCondLst>
                                  <p:childTnLst>
                                    <p:animScale>
                                      <p:cBhvr>
                                        <p:cTn id="31" dur="400" fill="hold"/>
                                        <p:tgtEl>
                                          <p:spTgt spid="18"/>
                                        </p:tgtEl>
                                      </p:cBhvr>
                                      <p:by x="110000" y="110000"/>
                                    </p:animScale>
                                  </p:childTnLst>
                                </p:cTn>
                              </p:par>
                              <p:par>
                                <p:cTn id="32" presetID="23" presetClass="entr" presetSubtype="16" fill="hold" grpId="0" nodeType="withEffect">
                                  <p:stCondLst>
                                    <p:cond delay="600"/>
                                  </p:stCondLst>
                                  <p:childTnLst>
                                    <p:set>
                                      <p:cBhvr>
                                        <p:cTn id="33" dur="1" fill="hold">
                                          <p:stCondLst>
                                            <p:cond delay="0"/>
                                          </p:stCondLst>
                                        </p:cTn>
                                        <p:tgtEl>
                                          <p:spTgt spid="17"/>
                                        </p:tgtEl>
                                        <p:attrNameLst>
                                          <p:attrName>style.visibility</p:attrName>
                                        </p:attrNameLst>
                                      </p:cBhvr>
                                      <p:to>
                                        <p:strVal val="visible"/>
                                      </p:to>
                                    </p:set>
                                    <p:anim calcmode="lin" valueType="num">
                                      <p:cBhvr>
                                        <p:cTn id="34" dur="400" fill="hold"/>
                                        <p:tgtEl>
                                          <p:spTgt spid="17"/>
                                        </p:tgtEl>
                                        <p:attrNameLst>
                                          <p:attrName>ppt_w</p:attrName>
                                        </p:attrNameLst>
                                      </p:cBhvr>
                                      <p:tavLst>
                                        <p:tav tm="0">
                                          <p:val>
                                            <p:fltVal val="0"/>
                                          </p:val>
                                        </p:tav>
                                        <p:tav tm="100000">
                                          <p:val>
                                            <p:strVal val="#ppt_w"/>
                                          </p:val>
                                        </p:tav>
                                      </p:tavLst>
                                    </p:anim>
                                    <p:anim calcmode="lin" valueType="num">
                                      <p:cBhvr>
                                        <p:cTn id="35" dur="400" fill="hold"/>
                                        <p:tgtEl>
                                          <p:spTgt spid="17"/>
                                        </p:tgtEl>
                                        <p:attrNameLst>
                                          <p:attrName>ppt_h</p:attrName>
                                        </p:attrNameLst>
                                      </p:cBhvr>
                                      <p:tavLst>
                                        <p:tav tm="0">
                                          <p:val>
                                            <p:fltVal val="0"/>
                                          </p:val>
                                        </p:tav>
                                        <p:tav tm="100000">
                                          <p:val>
                                            <p:strVal val="#ppt_h"/>
                                          </p:val>
                                        </p:tav>
                                      </p:tavLst>
                                    </p:anim>
                                  </p:childTnLst>
                                </p:cTn>
                              </p:par>
                              <p:par>
                                <p:cTn id="36" presetID="6" presetClass="emph" presetSubtype="0" accel="100000" autoRev="1" fill="hold" grpId="1" nodeType="withEffect">
                                  <p:stCondLst>
                                    <p:cond delay="600"/>
                                  </p:stCondLst>
                                  <p:childTnLst>
                                    <p:animScale>
                                      <p:cBhvr>
                                        <p:cTn id="37" dur="400" fill="hold"/>
                                        <p:tgtEl>
                                          <p:spTgt spid="1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21AC5E-EE70-F1F2-FEE6-54C1057E73F6}"/>
              </a:ext>
            </a:extLst>
          </p:cNvPr>
          <p:cNvSpPr/>
          <p:nvPr/>
        </p:nvSpPr>
        <p:spPr bwMode="auto">
          <a:xfrm>
            <a:off x="265471" y="243348"/>
            <a:ext cx="11776587" cy="640080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0C74C-62C5-8D87-EA95-37A440D935C7}"/>
              </a:ext>
            </a:extLst>
          </p:cNvPr>
          <p:cNvSpPr>
            <a:spLocks noGrp="1"/>
          </p:cNvSpPr>
          <p:nvPr>
            <p:ph type="title"/>
          </p:nvPr>
        </p:nvSpPr>
        <p:spPr>
          <a:xfrm>
            <a:off x="345262" y="1701469"/>
            <a:ext cx="4185972" cy="1477328"/>
          </a:xfrm>
        </p:spPr>
        <p:txBody>
          <a:bodyPr/>
          <a:lstStyle/>
          <a:p>
            <a:r>
              <a:rPr lang="en-US" sz="2400"/>
              <a:t>Retrieval-Augmented Generation</a:t>
            </a:r>
            <a:br>
              <a:rPr lang="en-US" sz="2400"/>
            </a:br>
            <a:br>
              <a:rPr lang="en-US" sz="2400" b="1" spc="0">
                <a:ln>
                  <a:noFill/>
                </a:ln>
                <a:gradFill flip="none" rotWithShape="1">
                  <a:gsLst>
                    <a:gs pos="12000">
                      <a:srgbClr val="D59ED7"/>
                    </a:gs>
                    <a:gs pos="86000">
                      <a:srgbClr val="8DC8E8"/>
                    </a:gs>
                  </a:gsLst>
                  <a:lin ang="10800000" scaled="1"/>
                  <a:tileRect/>
                </a:gradFill>
                <a:latin typeface="Segoe UI Semibold"/>
              </a:rPr>
            </a:br>
            <a:r>
              <a:rPr kumimoji="0" lang="en-US" sz="24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High-level Architecture</a:t>
            </a:r>
            <a:endParaRPr lang="en-US" sz="2400"/>
          </a:p>
        </p:txBody>
      </p:sp>
      <p:sp>
        <p:nvSpPr>
          <p:cNvPr id="88" name="Rectangle: Rounded Corners 87">
            <a:extLst>
              <a:ext uri="{FF2B5EF4-FFF2-40B4-BE49-F238E27FC236}">
                <a16:creationId xmlns:a16="http://schemas.microsoft.com/office/drawing/2014/main" id="{AD9B478D-FAA1-D9DD-7FDD-202DB51DAB5A}"/>
              </a:ext>
              <a:ext uri="{C183D7F6-B498-43B3-948B-1728B52AA6E4}">
                <adec:decorative xmlns:adec="http://schemas.microsoft.com/office/drawing/2017/decorative" val="1"/>
              </a:ext>
            </a:extLst>
          </p:cNvPr>
          <p:cNvSpPr/>
          <p:nvPr/>
        </p:nvSpPr>
        <p:spPr bwMode="auto">
          <a:xfrm>
            <a:off x="4325550" y="531488"/>
            <a:ext cx="7267012" cy="5740397"/>
          </a:xfrm>
          <a:prstGeom prst="roundRect">
            <a:avLst>
              <a:gd name="adj" fmla="val 1773"/>
            </a:avLst>
          </a:prstGeom>
          <a:solidFill>
            <a:srgbClr val="FFFFFF"/>
          </a:solidFill>
          <a:ln w="3175" cap="flat" cmpd="sng" algn="ctr">
            <a:solidFill>
              <a:srgbClr val="FFFFFF">
                <a:lumMod val="75000"/>
              </a:srgbClr>
            </a:solidFill>
            <a:prstDash val="solid"/>
            <a:headEnd type="none" w="med" len="med"/>
            <a:tailEnd type="none" w="med" len="med"/>
          </a:ln>
          <a:effectLst>
            <a:outerShdw blurRad="63500" dist="127000" dir="2700000" algn="ctr"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6" name="Oval 45">
            <a:extLst>
              <a:ext uri="{FF2B5EF4-FFF2-40B4-BE49-F238E27FC236}">
                <a16:creationId xmlns:a16="http://schemas.microsoft.com/office/drawing/2014/main" id="{9EFEBF0F-8A35-C973-FB4E-F9E79A0948C2}"/>
              </a:ext>
              <a:ext uri="{C183D7F6-B498-43B3-948B-1728B52AA6E4}">
                <adec:decorative xmlns:adec="http://schemas.microsoft.com/office/drawing/2017/decorative" val="1"/>
              </a:ext>
            </a:extLst>
          </p:cNvPr>
          <p:cNvSpPr/>
          <p:nvPr/>
        </p:nvSpPr>
        <p:spPr>
          <a:xfrm>
            <a:off x="4579100"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47" name="TextBox 46">
            <a:extLst>
              <a:ext uri="{FF2B5EF4-FFF2-40B4-BE49-F238E27FC236}">
                <a16:creationId xmlns:a16="http://schemas.microsoft.com/office/drawing/2014/main" id="{8DDBC4F3-9777-550B-0812-0FACE64D082D}"/>
              </a:ext>
              <a:ext uri="{C183D7F6-B498-43B3-948B-1728B52AA6E4}">
                <adec:decorative xmlns:adec="http://schemas.microsoft.com/office/drawing/2017/decorative" val="1"/>
              </a:ext>
            </a:extLst>
          </p:cNvPr>
          <p:cNvSpPr txBox="1"/>
          <p:nvPr/>
        </p:nvSpPr>
        <p:spPr>
          <a:xfrm>
            <a:off x="4603297" y="4242324"/>
            <a:ext cx="644407"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pp UX</a:t>
            </a:r>
          </a:p>
        </p:txBody>
      </p:sp>
      <p:sp>
        <p:nvSpPr>
          <p:cNvPr id="48" name="TextBox 47">
            <a:extLst>
              <a:ext uri="{FF2B5EF4-FFF2-40B4-BE49-F238E27FC236}">
                <a16:creationId xmlns:a16="http://schemas.microsoft.com/office/drawing/2014/main" id="{39C2ED4F-B771-78A0-47CD-18A9A4CF8A4F}"/>
              </a:ext>
              <a:ext uri="{C183D7F6-B498-43B3-948B-1728B52AA6E4}">
                <adec:decorative xmlns:adec="http://schemas.microsoft.com/office/drawing/2017/decorative" val="1"/>
              </a:ext>
            </a:extLst>
          </p:cNvPr>
          <p:cNvSpPr txBox="1"/>
          <p:nvPr/>
        </p:nvSpPr>
        <p:spPr>
          <a:xfrm>
            <a:off x="5486953" y="3361548"/>
            <a:ext cx="1128172" cy="184666"/>
          </a:xfrm>
          <a:prstGeom prst="rect">
            <a:avLst/>
          </a:prstGeom>
          <a:noFill/>
        </p:spPr>
        <p:txBody>
          <a:bodyPr wrap="squar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User question</a:t>
            </a:r>
          </a:p>
        </p:txBody>
      </p:sp>
      <p:cxnSp>
        <p:nvCxnSpPr>
          <p:cNvPr id="49" name="Straight Connector 48">
            <a:extLst>
              <a:ext uri="{FF2B5EF4-FFF2-40B4-BE49-F238E27FC236}">
                <a16:creationId xmlns:a16="http://schemas.microsoft.com/office/drawing/2014/main" id="{150C57DB-3D57-FF6D-F3CC-0564C86A5237}"/>
              </a:ext>
              <a:ext uri="{C183D7F6-B498-43B3-948B-1728B52AA6E4}">
                <adec:decorative xmlns:adec="http://schemas.microsoft.com/office/drawing/2017/decorative" val="1"/>
              </a:ext>
            </a:extLst>
          </p:cNvPr>
          <p:cNvCxnSpPr>
            <a:cxnSpLocks/>
          </p:cNvCxnSpPr>
          <p:nvPr/>
        </p:nvCxnSpPr>
        <p:spPr>
          <a:xfrm flipH="1" flipV="1">
            <a:off x="5508625" y="36576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6128A9DF-861E-09FB-6EBF-FA2B808BFCC8}"/>
              </a:ext>
              <a:ext uri="{C183D7F6-B498-43B3-948B-1728B52AA6E4}">
                <adec:decorative xmlns:adec="http://schemas.microsoft.com/office/drawing/2017/decorative" val="1"/>
              </a:ext>
            </a:extLst>
          </p:cNvPr>
          <p:cNvGrpSpPr/>
          <p:nvPr/>
        </p:nvGrpSpPr>
        <p:grpSpPr>
          <a:xfrm>
            <a:off x="5508625" y="3848100"/>
            <a:ext cx="1080000" cy="258026"/>
            <a:chOff x="5613400" y="3581400"/>
            <a:chExt cx="1080000" cy="258026"/>
          </a:xfrm>
        </p:grpSpPr>
        <p:cxnSp>
          <p:nvCxnSpPr>
            <p:cNvPr id="51" name="Straight Connector 50">
              <a:extLst>
                <a:ext uri="{FF2B5EF4-FFF2-40B4-BE49-F238E27FC236}">
                  <a16:creationId xmlns:a16="http://schemas.microsoft.com/office/drawing/2014/main" id="{920789C9-5B9B-C2F7-EF9D-06376DA5D000}"/>
                </a:ext>
              </a:extLst>
            </p:cNvPr>
            <p:cNvCxnSpPr>
              <a:cxnSpLocks/>
            </p:cNvCxnSpPr>
            <p:nvPr/>
          </p:nvCxnSpPr>
          <p:spPr>
            <a:xfrm>
              <a:off x="5613400" y="35814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A55FD1B-8CD3-031F-9F33-D825790C5673}"/>
                </a:ext>
              </a:extLst>
            </p:cNvPr>
            <p:cNvSpPr txBox="1"/>
            <p:nvPr/>
          </p:nvSpPr>
          <p:spPr>
            <a:xfrm>
              <a:off x="5775086" y="3654760"/>
              <a:ext cx="761456"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nswer</a:t>
              </a:r>
            </a:p>
          </p:txBody>
        </p:sp>
      </p:grpSp>
      <p:sp>
        <p:nvSpPr>
          <p:cNvPr id="53" name="TextBox 52">
            <a:extLst>
              <a:ext uri="{FF2B5EF4-FFF2-40B4-BE49-F238E27FC236}">
                <a16:creationId xmlns:a16="http://schemas.microsoft.com/office/drawing/2014/main" id="{673E7615-3F40-F63E-EF04-CE3289283B39}"/>
              </a:ext>
              <a:ext uri="{C183D7F6-B498-43B3-948B-1728B52AA6E4}">
                <adec:decorative xmlns:adec="http://schemas.microsoft.com/office/drawing/2017/decorative" val="1"/>
              </a:ext>
            </a:extLst>
          </p:cNvPr>
          <p:cNvSpPr txBox="1"/>
          <p:nvPr/>
        </p:nvSpPr>
        <p:spPr>
          <a:xfrm>
            <a:off x="6622053" y="4242324"/>
            <a:ext cx="1067793"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Orchestrator</a:t>
            </a:r>
          </a:p>
        </p:txBody>
      </p:sp>
      <p:cxnSp>
        <p:nvCxnSpPr>
          <p:cNvPr id="56" name="Straight Connector 55">
            <a:extLst>
              <a:ext uri="{FF2B5EF4-FFF2-40B4-BE49-F238E27FC236}">
                <a16:creationId xmlns:a16="http://schemas.microsoft.com/office/drawing/2014/main" id="{297A0EBA-5EA4-036F-E9AA-B7EBCBBF150D}"/>
              </a:ext>
              <a:ext uri="{C183D7F6-B498-43B3-948B-1728B52AA6E4}">
                <adec:decorative xmlns:adec="http://schemas.microsoft.com/office/drawing/2017/decorative" val="1"/>
              </a:ext>
            </a:extLst>
          </p:cNvPr>
          <p:cNvCxnSpPr>
            <a:cxnSpLocks/>
          </p:cNvCxnSpPr>
          <p:nvPr/>
        </p:nvCxnSpPr>
        <p:spPr>
          <a:xfrm>
            <a:off x="7058254"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E5581D1-59D5-09FB-E4B0-05FF518F934D}"/>
              </a:ext>
              <a:ext uri="{C183D7F6-B498-43B3-948B-1728B52AA6E4}">
                <adec:decorative xmlns:adec="http://schemas.microsoft.com/office/drawing/2017/decorative" val="1"/>
              </a:ext>
            </a:extLst>
          </p:cNvPr>
          <p:cNvCxnSpPr>
            <a:cxnSpLocks/>
          </p:cNvCxnSpPr>
          <p:nvPr/>
        </p:nvCxnSpPr>
        <p:spPr>
          <a:xfrm flipH="1" flipV="1">
            <a:off x="7251210"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6E4270-F557-2C55-0181-F8376A661BB5}"/>
              </a:ext>
              <a:ext uri="{C183D7F6-B498-43B3-948B-1728B52AA6E4}">
                <adec:decorative xmlns:adec="http://schemas.microsoft.com/office/drawing/2017/decorative" val="1"/>
              </a:ext>
            </a:extLst>
          </p:cNvPr>
          <p:cNvCxnSpPr>
            <a:cxnSpLocks/>
          </p:cNvCxnSpPr>
          <p:nvPr/>
        </p:nvCxnSpPr>
        <p:spPr>
          <a:xfrm rot="2358803" flipH="1">
            <a:off x="7769225" y="47498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5AA1C83-41FE-1F65-556E-0466DA4F9393}"/>
              </a:ext>
              <a:ext uri="{C183D7F6-B498-43B3-948B-1728B52AA6E4}">
                <adec:decorative xmlns:adec="http://schemas.microsoft.com/office/drawing/2017/decorative" val="1"/>
              </a:ext>
            </a:extLst>
          </p:cNvPr>
          <p:cNvCxnSpPr>
            <a:cxnSpLocks/>
          </p:cNvCxnSpPr>
          <p:nvPr/>
        </p:nvCxnSpPr>
        <p:spPr>
          <a:xfrm rot="2358803" flipV="1">
            <a:off x="7896225" y="45974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E9EDFD52-B30B-C211-380B-96E57DE9B61E}"/>
              </a:ext>
              <a:ext uri="{C183D7F6-B498-43B3-948B-1728B52AA6E4}">
                <adec:decorative xmlns:adec="http://schemas.microsoft.com/office/drawing/2017/decorative" val="1"/>
              </a:ext>
            </a:extLst>
          </p:cNvPr>
          <p:cNvSpPr/>
          <p:nvPr/>
        </p:nvSpPr>
        <p:spPr>
          <a:xfrm>
            <a:off x="8964402" y="503509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70" name="TextBox 69">
            <a:extLst>
              <a:ext uri="{FF2B5EF4-FFF2-40B4-BE49-F238E27FC236}">
                <a16:creationId xmlns:a16="http://schemas.microsoft.com/office/drawing/2014/main" id="{27D3F5D9-E099-2572-B226-D828CBA2A31F}"/>
              </a:ext>
              <a:ext uri="{C183D7F6-B498-43B3-948B-1728B52AA6E4}">
                <adec:decorative xmlns:adec="http://schemas.microsoft.com/office/drawing/2017/decorative" val="1"/>
              </a:ext>
            </a:extLst>
          </p:cNvPr>
          <p:cNvSpPr txBox="1"/>
          <p:nvPr/>
        </p:nvSpPr>
        <p:spPr>
          <a:xfrm>
            <a:off x="6465376" y="1280219"/>
            <a:ext cx="1381147"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Retrieval system</a:t>
            </a:r>
          </a:p>
        </p:txBody>
      </p:sp>
      <p:sp>
        <p:nvSpPr>
          <p:cNvPr id="71" name="TextBox 70">
            <a:extLst>
              <a:ext uri="{FF2B5EF4-FFF2-40B4-BE49-F238E27FC236}">
                <a16:creationId xmlns:a16="http://schemas.microsoft.com/office/drawing/2014/main" id="{81ABDB1F-DDBC-E462-B7AB-246A5BD6B46D}"/>
              </a:ext>
              <a:ext uri="{C183D7F6-B498-43B3-948B-1728B52AA6E4}">
                <adec:decorative xmlns:adec="http://schemas.microsoft.com/office/drawing/2017/decorative" val="1"/>
              </a:ext>
            </a:extLst>
          </p:cNvPr>
          <p:cNvSpPr txBox="1"/>
          <p:nvPr/>
        </p:nvSpPr>
        <p:spPr>
          <a:xfrm>
            <a:off x="8352277" y="5822931"/>
            <a:ext cx="1927708"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Large Language Model</a:t>
            </a:r>
          </a:p>
        </p:txBody>
      </p:sp>
      <p:pic>
        <p:nvPicPr>
          <p:cNvPr id="72" name="Graphic 71">
            <a:extLst>
              <a:ext uri="{FF2B5EF4-FFF2-40B4-BE49-F238E27FC236}">
                <a16:creationId xmlns:a16="http://schemas.microsoft.com/office/drawing/2014/main" id="{1F990095-2EDD-3A46-9720-1E17EF3F3A1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5734" y="5186556"/>
            <a:ext cx="390138" cy="390138"/>
          </a:xfrm>
          <a:prstGeom prst="rect">
            <a:avLst/>
          </a:prstGeom>
          <a:effectLst/>
        </p:spPr>
      </p:pic>
      <p:grpSp>
        <p:nvGrpSpPr>
          <p:cNvPr id="73" name="Group 72">
            <a:extLst>
              <a:ext uri="{FF2B5EF4-FFF2-40B4-BE49-F238E27FC236}">
                <a16:creationId xmlns:a16="http://schemas.microsoft.com/office/drawing/2014/main" id="{41F81976-D4D5-DDAE-7C8D-EC4B86E4C097}"/>
              </a:ext>
              <a:ext uri="{C183D7F6-B498-43B3-948B-1728B52AA6E4}">
                <adec:decorative xmlns:adec="http://schemas.microsoft.com/office/drawing/2017/decorative" val="1"/>
              </a:ext>
            </a:extLst>
          </p:cNvPr>
          <p:cNvGrpSpPr/>
          <p:nvPr/>
        </p:nvGrpSpPr>
        <p:grpSpPr>
          <a:xfrm>
            <a:off x="6809548" y="1585792"/>
            <a:ext cx="692802" cy="693056"/>
            <a:chOff x="9069177" y="1367972"/>
            <a:chExt cx="692802" cy="693056"/>
          </a:xfrm>
        </p:grpSpPr>
        <p:sp>
          <p:nvSpPr>
            <p:cNvPr id="74" name="Oval 73">
              <a:extLst>
                <a:ext uri="{FF2B5EF4-FFF2-40B4-BE49-F238E27FC236}">
                  <a16:creationId xmlns:a16="http://schemas.microsoft.com/office/drawing/2014/main" id="{E0B51614-A462-D8DC-F2E1-91FA7C1C2B41}"/>
                </a:ext>
                <a:ext uri="{C183D7F6-B498-43B3-948B-1728B52AA6E4}">
                  <adec:decorative xmlns:adec="http://schemas.microsoft.com/office/drawing/2017/decorative" val="1"/>
                </a:ext>
              </a:extLst>
            </p:cNvPr>
            <p:cNvSpPr/>
            <p:nvPr/>
          </p:nvSpPr>
          <p:spPr>
            <a:xfrm>
              <a:off x="9069177" y="1367972"/>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75" name="Graphic 437806336">
              <a:extLst>
                <a:ext uri="{FF2B5EF4-FFF2-40B4-BE49-F238E27FC236}">
                  <a16:creationId xmlns:a16="http://schemas.microsoft.com/office/drawing/2014/main" id="{0A1E4D9A-7584-BA2E-EC3D-3A78063F22F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919" y="1520648"/>
              <a:ext cx="387320" cy="387704"/>
            </a:xfrm>
            <a:prstGeom prst="rect">
              <a:avLst/>
            </a:prstGeom>
          </p:spPr>
        </p:pic>
      </p:grpSp>
      <p:sp>
        <p:nvSpPr>
          <p:cNvPr id="76" name="Oval 75">
            <a:extLst>
              <a:ext uri="{FF2B5EF4-FFF2-40B4-BE49-F238E27FC236}">
                <a16:creationId xmlns:a16="http://schemas.microsoft.com/office/drawing/2014/main" id="{A407545F-9763-B3D4-F302-603F7AB40236}"/>
              </a:ext>
              <a:ext uri="{C183D7F6-B498-43B3-948B-1728B52AA6E4}">
                <adec:decorative xmlns:adec="http://schemas.microsoft.com/office/drawing/2017/decorative" val="1"/>
              </a:ext>
            </a:extLst>
          </p:cNvPr>
          <p:cNvSpPr/>
          <p:nvPr/>
        </p:nvSpPr>
        <p:spPr>
          <a:xfrm>
            <a:off x="6809548"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grpSp>
        <p:nvGrpSpPr>
          <p:cNvPr id="77" name="Group 76">
            <a:extLst>
              <a:ext uri="{FF2B5EF4-FFF2-40B4-BE49-F238E27FC236}">
                <a16:creationId xmlns:a16="http://schemas.microsoft.com/office/drawing/2014/main" id="{9F753382-B0B8-FE24-EB64-3F94490049BB}"/>
              </a:ext>
              <a:ext uri="{C183D7F6-B498-43B3-948B-1728B52AA6E4}">
                <adec:decorative xmlns:adec="http://schemas.microsoft.com/office/drawing/2017/decorative" val="1"/>
              </a:ext>
            </a:extLst>
          </p:cNvPr>
          <p:cNvGrpSpPr/>
          <p:nvPr/>
        </p:nvGrpSpPr>
        <p:grpSpPr>
          <a:xfrm>
            <a:off x="7025249" y="3668387"/>
            <a:ext cx="313764" cy="294658"/>
            <a:chOff x="4613480" y="3695901"/>
            <a:chExt cx="530461" cy="498156"/>
          </a:xfrm>
        </p:grpSpPr>
        <p:sp>
          <p:nvSpPr>
            <p:cNvPr id="78" name="Freeform: Shape 77">
              <a:extLst>
                <a:ext uri="{FF2B5EF4-FFF2-40B4-BE49-F238E27FC236}">
                  <a16:creationId xmlns:a16="http://schemas.microsoft.com/office/drawing/2014/main" id="{7BDE5D26-6F77-1758-5B3A-35AFE9D4021B}"/>
                </a:ext>
              </a:extLst>
            </p:cNvPr>
            <p:cNvSpPr/>
            <p:nvPr/>
          </p:nvSpPr>
          <p:spPr>
            <a:xfrm>
              <a:off x="4613480" y="3695901"/>
              <a:ext cx="530461" cy="498156"/>
            </a:xfrm>
            <a:custGeom>
              <a:avLst/>
              <a:gdLst>
                <a:gd name="connsiteX0" fmla="*/ 347077 w 359154"/>
                <a:gd name="connsiteY0" fmla="*/ 0 h 240030"/>
                <a:gd name="connsiteX1" fmla="*/ 359155 w 359154"/>
                <a:gd name="connsiteY1" fmla="*/ 0 h 240030"/>
                <a:gd name="connsiteX2" fmla="*/ 359155 w 359154"/>
                <a:gd name="connsiteY2" fmla="*/ 240030 h 240030"/>
                <a:gd name="connsiteX3" fmla="*/ 347077 w 359154"/>
                <a:gd name="connsiteY3" fmla="*/ 240030 h 240030"/>
                <a:gd name="connsiteX4" fmla="*/ 12078 w 359154"/>
                <a:gd name="connsiteY4" fmla="*/ 240030 h 240030"/>
                <a:gd name="connsiteX5" fmla="*/ 0 w 359154"/>
                <a:gd name="connsiteY5" fmla="*/ 240030 h 240030"/>
                <a:gd name="connsiteX6" fmla="*/ 0 w 359154"/>
                <a:gd name="connsiteY6" fmla="*/ 0 h 240030"/>
                <a:gd name="connsiteX7" fmla="*/ 12078 w 359154"/>
                <a:gd name="connsiteY7"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154" h="240030">
                  <a:moveTo>
                    <a:pt x="347077" y="0"/>
                  </a:moveTo>
                  <a:cubicBezTo>
                    <a:pt x="353747" y="0"/>
                    <a:pt x="359155" y="0"/>
                    <a:pt x="359155" y="0"/>
                  </a:cubicBezTo>
                  <a:lnTo>
                    <a:pt x="359155" y="240030"/>
                  </a:lnTo>
                  <a:cubicBezTo>
                    <a:pt x="359155" y="240030"/>
                    <a:pt x="353747" y="240030"/>
                    <a:pt x="347077" y="240030"/>
                  </a:cubicBezTo>
                  <a:lnTo>
                    <a:pt x="12078" y="240030"/>
                  </a:lnTo>
                  <a:cubicBezTo>
                    <a:pt x="5408" y="240030"/>
                    <a:pt x="0" y="240030"/>
                    <a:pt x="0" y="240030"/>
                  </a:cubicBezTo>
                  <a:lnTo>
                    <a:pt x="0" y="0"/>
                  </a:lnTo>
                  <a:cubicBezTo>
                    <a:pt x="0" y="0"/>
                    <a:pt x="5408" y="0"/>
                    <a:pt x="12078" y="0"/>
                  </a:cubicBezTo>
                  <a:close/>
                </a:path>
              </a:pathLst>
            </a:custGeom>
            <a:solidFill>
              <a:srgbClr val="0078D4"/>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3FA1BCF-2A7C-CACB-39DB-9761E7E8D7F8}"/>
                </a:ext>
              </a:extLst>
            </p:cNvPr>
            <p:cNvGrpSpPr/>
            <p:nvPr/>
          </p:nvGrpSpPr>
          <p:grpSpPr>
            <a:xfrm>
              <a:off x="4790300" y="3826612"/>
              <a:ext cx="176820" cy="236734"/>
              <a:chOff x="4790300" y="3799961"/>
              <a:chExt cx="176820" cy="290773"/>
            </a:xfrm>
          </p:grpSpPr>
          <p:sp>
            <p:nvSpPr>
              <p:cNvPr id="80" name="Freeform: Shape 79">
                <a:extLst>
                  <a:ext uri="{FF2B5EF4-FFF2-40B4-BE49-F238E27FC236}">
                    <a16:creationId xmlns:a16="http://schemas.microsoft.com/office/drawing/2014/main" id="{A9F0F17E-17AD-8677-4771-9AA70003D8D5}"/>
                  </a:ext>
                </a:extLst>
              </p:cNvPr>
              <p:cNvSpPr/>
              <p:nvPr/>
            </p:nvSpPr>
            <p:spPr>
              <a:xfrm>
                <a:off x="4878973" y="3873023"/>
                <a:ext cx="88147" cy="217711"/>
              </a:xfrm>
              <a:custGeom>
                <a:avLst/>
                <a:gdLst>
                  <a:gd name="connsiteX0" fmla="*/ 59682 w 59681"/>
                  <a:gd name="connsiteY0" fmla="*/ 0 h 104901"/>
                  <a:gd name="connsiteX1" fmla="*/ 59682 w 59681"/>
                  <a:gd name="connsiteY1" fmla="*/ 69698 h 104901"/>
                  <a:gd name="connsiteX2" fmla="*/ 0 w 59681"/>
                  <a:gd name="connsiteY2" fmla="*/ 104902 h 104901"/>
                  <a:gd name="connsiteX3" fmla="*/ 0 w 59681"/>
                  <a:gd name="connsiteY3" fmla="*/ 34849 h 104901"/>
                  <a:gd name="connsiteX4" fmla="*/ 59682 w 59681"/>
                  <a:gd name="connsiteY4" fmla="*/ 0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81" h="104901">
                    <a:moveTo>
                      <a:pt x="59682" y="0"/>
                    </a:moveTo>
                    <a:lnTo>
                      <a:pt x="59682" y="69698"/>
                    </a:lnTo>
                    <a:lnTo>
                      <a:pt x="0" y="104902"/>
                    </a:lnTo>
                    <a:lnTo>
                      <a:pt x="0" y="34849"/>
                    </a:lnTo>
                    <a:lnTo>
                      <a:pt x="59682" y="0"/>
                    </a:lnTo>
                    <a:close/>
                  </a:path>
                </a:pathLst>
              </a:custGeom>
              <a:solidFill>
                <a:srgbClr val="50E6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61E7887-7E3F-FD36-BFD6-41B521EA3AAE}"/>
                  </a:ext>
                </a:extLst>
              </p:cNvPr>
              <p:cNvSpPr/>
              <p:nvPr/>
            </p:nvSpPr>
            <p:spPr>
              <a:xfrm>
                <a:off x="4790300" y="3799961"/>
                <a:ext cx="176820" cy="145387"/>
              </a:xfrm>
              <a:custGeom>
                <a:avLst/>
                <a:gdLst>
                  <a:gd name="connsiteX0" fmla="*/ 119718 w 119718"/>
                  <a:gd name="connsiteY0" fmla="*/ 35204 h 70053"/>
                  <a:gd name="connsiteX1" fmla="*/ 60037 w 119718"/>
                  <a:gd name="connsiteY1" fmla="*/ 70053 h 70053"/>
                  <a:gd name="connsiteX2" fmla="*/ 0 w 119718"/>
                  <a:gd name="connsiteY2" fmla="*/ 35204 h 70053"/>
                  <a:gd name="connsiteX3" fmla="*/ 60037 w 119718"/>
                  <a:gd name="connsiteY3" fmla="*/ 0 h 70053"/>
                  <a:gd name="connsiteX4" fmla="*/ 119718 w 119718"/>
                  <a:gd name="connsiteY4" fmla="*/ 35204 h 70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18" h="70053">
                    <a:moveTo>
                      <a:pt x="119718" y="35204"/>
                    </a:moveTo>
                    <a:lnTo>
                      <a:pt x="60037" y="70053"/>
                    </a:lnTo>
                    <a:lnTo>
                      <a:pt x="0" y="35204"/>
                    </a:lnTo>
                    <a:lnTo>
                      <a:pt x="60037" y="0"/>
                    </a:lnTo>
                    <a:lnTo>
                      <a:pt x="119718" y="35204"/>
                    </a:lnTo>
                    <a:close/>
                  </a:path>
                </a:pathLst>
              </a:custGeom>
              <a:solidFill>
                <a:srgbClr val="C3F1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224F962D-EDFC-4537-69E5-0D7EF04527AA}"/>
                  </a:ext>
                </a:extLst>
              </p:cNvPr>
              <p:cNvSpPr/>
              <p:nvPr/>
            </p:nvSpPr>
            <p:spPr>
              <a:xfrm>
                <a:off x="4790300" y="3873023"/>
                <a:ext cx="88672" cy="217711"/>
              </a:xfrm>
              <a:custGeom>
                <a:avLst/>
                <a:gdLst>
                  <a:gd name="connsiteX0" fmla="*/ 60037 w 60036"/>
                  <a:gd name="connsiteY0" fmla="*/ 34849 h 104901"/>
                  <a:gd name="connsiteX1" fmla="*/ 60037 w 60036"/>
                  <a:gd name="connsiteY1" fmla="*/ 104902 h 104901"/>
                  <a:gd name="connsiteX2" fmla="*/ 0 w 60036"/>
                  <a:gd name="connsiteY2" fmla="*/ 69698 h 104901"/>
                  <a:gd name="connsiteX3" fmla="*/ 0 w 60036"/>
                  <a:gd name="connsiteY3" fmla="*/ 0 h 104901"/>
                  <a:gd name="connsiteX4" fmla="*/ 60037 w 60036"/>
                  <a:gd name="connsiteY4" fmla="*/ 34849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36" h="104901">
                    <a:moveTo>
                      <a:pt x="60037" y="34849"/>
                    </a:moveTo>
                    <a:lnTo>
                      <a:pt x="60037" y="104902"/>
                    </a:lnTo>
                    <a:lnTo>
                      <a:pt x="0" y="69698"/>
                    </a:lnTo>
                    <a:lnTo>
                      <a:pt x="0" y="0"/>
                    </a:lnTo>
                    <a:lnTo>
                      <a:pt x="60037" y="34849"/>
                    </a:lnTo>
                    <a:close/>
                  </a:path>
                </a:pathLst>
              </a:custGeom>
              <a:solidFill>
                <a:srgbClr val="9CEB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03EB5E34-46CC-3F2E-3F3C-345A3E74ACBA}"/>
              </a:ext>
              <a:ext uri="{C183D7F6-B498-43B3-948B-1728B52AA6E4}">
                <adec:decorative xmlns:adec="http://schemas.microsoft.com/office/drawing/2017/decorative" val="1"/>
              </a:ext>
            </a:extLst>
          </p:cNvPr>
          <p:cNvGrpSpPr/>
          <p:nvPr/>
        </p:nvGrpSpPr>
        <p:grpSpPr>
          <a:xfrm>
            <a:off x="4816553" y="3618230"/>
            <a:ext cx="217896" cy="394970"/>
            <a:chOff x="4750841" y="990685"/>
            <a:chExt cx="2690317" cy="4876618"/>
          </a:xfrm>
        </p:grpSpPr>
        <p:sp>
          <p:nvSpPr>
            <p:cNvPr id="84" name="Freeform: Shape 83">
              <a:extLst>
                <a:ext uri="{FF2B5EF4-FFF2-40B4-BE49-F238E27FC236}">
                  <a16:creationId xmlns:a16="http://schemas.microsoft.com/office/drawing/2014/main" id="{8004B47B-481F-FE3E-A098-84F15EA84771}"/>
                </a:ext>
              </a:extLst>
            </p:cNvPr>
            <p:cNvSpPr/>
            <p:nvPr/>
          </p:nvSpPr>
          <p:spPr>
            <a:xfrm>
              <a:off x="4750841" y="990685"/>
              <a:ext cx="2690317" cy="4876618"/>
            </a:xfrm>
            <a:custGeom>
              <a:avLst/>
              <a:gdLst>
                <a:gd name="connsiteX0" fmla="*/ 2363533 w 2690317"/>
                <a:gd name="connsiteY0" fmla="*/ 0 h 4876618"/>
                <a:gd name="connsiteX1" fmla="*/ 326784 w 2690317"/>
                <a:gd name="connsiteY1" fmla="*/ 0 h 4876618"/>
                <a:gd name="connsiteX2" fmla="*/ 0 w 2690317"/>
                <a:gd name="connsiteY2" fmla="*/ 326784 h 4876618"/>
                <a:gd name="connsiteX3" fmla="*/ 0 w 2690317"/>
                <a:gd name="connsiteY3" fmla="*/ 4549836 h 4876618"/>
                <a:gd name="connsiteX4" fmla="*/ 326784 w 2690317"/>
                <a:gd name="connsiteY4" fmla="*/ 4876619 h 4876618"/>
                <a:gd name="connsiteX5" fmla="*/ 2363533 w 2690317"/>
                <a:gd name="connsiteY5" fmla="*/ 4876619 h 4876618"/>
                <a:gd name="connsiteX6" fmla="*/ 2690317 w 2690317"/>
                <a:gd name="connsiteY6" fmla="*/ 4549836 h 4876618"/>
                <a:gd name="connsiteX7" fmla="*/ 2690317 w 2690317"/>
                <a:gd name="connsiteY7" fmla="*/ 326784 h 4876618"/>
                <a:gd name="connsiteX8" fmla="*/ 2363533 w 2690317"/>
                <a:gd name="connsiteY8" fmla="*/ 0 h 4876618"/>
                <a:gd name="connsiteX9" fmla="*/ 326784 w 2690317"/>
                <a:gd name="connsiteY9" fmla="*/ 150828 h 4876618"/>
                <a:gd name="connsiteX10" fmla="*/ 2363533 w 2690317"/>
                <a:gd name="connsiteY10" fmla="*/ 150828 h 4876618"/>
                <a:gd name="connsiteX11" fmla="*/ 2539499 w 2690317"/>
                <a:gd name="connsiteY11" fmla="*/ 326793 h 4876618"/>
                <a:gd name="connsiteX12" fmla="*/ 2539499 w 2690317"/>
                <a:gd name="connsiteY12" fmla="*/ 4016931 h 4876618"/>
                <a:gd name="connsiteX13" fmla="*/ 150819 w 2690317"/>
                <a:gd name="connsiteY13" fmla="*/ 4016931 h 4876618"/>
                <a:gd name="connsiteX14" fmla="*/ 150819 w 2690317"/>
                <a:gd name="connsiteY14" fmla="*/ 326784 h 4876618"/>
                <a:gd name="connsiteX15" fmla="*/ 326784 w 2690317"/>
                <a:gd name="connsiteY15" fmla="*/ 150828 h 4876618"/>
                <a:gd name="connsiteX16" fmla="*/ 1206141 w 2690317"/>
                <a:gd name="connsiteY16" fmla="*/ 4409075 h 4876618"/>
                <a:gd name="connsiteX17" fmla="*/ 1345406 w 2690317"/>
                <a:gd name="connsiteY17" fmla="*/ 4269810 h 4876618"/>
                <a:gd name="connsiteX18" fmla="*/ 1484166 w 2690317"/>
                <a:gd name="connsiteY18" fmla="*/ 4409075 h 4876618"/>
                <a:gd name="connsiteX19" fmla="*/ 1345406 w 2690317"/>
                <a:gd name="connsiteY19" fmla="*/ 4548330 h 4876618"/>
                <a:gd name="connsiteX20" fmla="*/ 1206141 w 2690317"/>
                <a:gd name="connsiteY20" fmla="*/ 4409075 h 487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90317" h="4876618">
                  <a:moveTo>
                    <a:pt x="2363533" y="0"/>
                  </a:moveTo>
                  <a:lnTo>
                    <a:pt x="326784" y="0"/>
                  </a:lnTo>
                  <a:cubicBezTo>
                    <a:pt x="146599" y="0"/>
                    <a:pt x="0" y="146599"/>
                    <a:pt x="0" y="326784"/>
                  </a:cubicBezTo>
                  <a:lnTo>
                    <a:pt x="0" y="4549836"/>
                  </a:lnTo>
                  <a:cubicBezTo>
                    <a:pt x="0" y="4730020"/>
                    <a:pt x="146599" y="4876619"/>
                    <a:pt x="326784" y="4876619"/>
                  </a:cubicBezTo>
                  <a:lnTo>
                    <a:pt x="2363533" y="4876619"/>
                  </a:lnTo>
                  <a:cubicBezTo>
                    <a:pt x="2543718" y="4876619"/>
                    <a:pt x="2690317" y="4730020"/>
                    <a:pt x="2690317" y="4549836"/>
                  </a:cubicBezTo>
                  <a:lnTo>
                    <a:pt x="2690317" y="326784"/>
                  </a:lnTo>
                  <a:cubicBezTo>
                    <a:pt x="2690317" y="146609"/>
                    <a:pt x="2543718" y="0"/>
                    <a:pt x="2363533" y="0"/>
                  </a:cubicBezTo>
                  <a:close/>
                  <a:moveTo>
                    <a:pt x="326784" y="150828"/>
                  </a:moveTo>
                  <a:lnTo>
                    <a:pt x="2363533" y="150828"/>
                  </a:lnTo>
                  <a:cubicBezTo>
                    <a:pt x="2460546" y="150828"/>
                    <a:pt x="2539499" y="229772"/>
                    <a:pt x="2539499" y="326793"/>
                  </a:cubicBezTo>
                  <a:lnTo>
                    <a:pt x="2539499" y="4016931"/>
                  </a:lnTo>
                  <a:lnTo>
                    <a:pt x="150819" y="4016931"/>
                  </a:lnTo>
                  <a:lnTo>
                    <a:pt x="150819" y="326784"/>
                  </a:lnTo>
                  <a:cubicBezTo>
                    <a:pt x="150819" y="229772"/>
                    <a:pt x="229772" y="150828"/>
                    <a:pt x="326784" y="150828"/>
                  </a:cubicBezTo>
                  <a:close/>
                  <a:moveTo>
                    <a:pt x="1206141" y="4409075"/>
                  </a:moveTo>
                  <a:cubicBezTo>
                    <a:pt x="1206141" y="4332151"/>
                    <a:pt x="1267978" y="4269810"/>
                    <a:pt x="1345406" y="4269810"/>
                  </a:cubicBezTo>
                  <a:cubicBezTo>
                    <a:pt x="1422330" y="4269810"/>
                    <a:pt x="1484166" y="4332151"/>
                    <a:pt x="1484166" y="4409075"/>
                  </a:cubicBezTo>
                  <a:cubicBezTo>
                    <a:pt x="1484166" y="4485990"/>
                    <a:pt x="1422330" y="4548330"/>
                    <a:pt x="1345406" y="4548330"/>
                  </a:cubicBezTo>
                  <a:cubicBezTo>
                    <a:pt x="1267978" y="4548330"/>
                    <a:pt x="1206141" y="4485990"/>
                    <a:pt x="1206141" y="4409075"/>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5" name="Freeform: Shape 84">
              <a:extLst>
                <a:ext uri="{FF2B5EF4-FFF2-40B4-BE49-F238E27FC236}">
                  <a16:creationId xmlns:a16="http://schemas.microsoft.com/office/drawing/2014/main" id="{4FC1A538-6A28-E64D-EBC8-A2403A891E77}"/>
                </a:ext>
              </a:extLst>
            </p:cNvPr>
            <p:cNvSpPr/>
            <p:nvPr/>
          </p:nvSpPr>
          <p:spPr>
            <a:xfrm>
              <a:off x="5674213" y="1392888"/>
              <a:ext cx="843591" cy="150818"/>
            </a:xfrm>
            <a:custGeom>
              <a:avLst/>
              <a:gdLst>
                <a:gd name="connsiteX0" fmla="*/ 768182 w 843591"/>
                <a:gd name="connsiteY0" fmla="*/ 150819 h 150818"/>
                <a:gd name="connsiteX1" fmla="*/ 75409 w 843591"/>
                <a:gd name="connsiteY1" fmla="*/ 150819 h 150818"/>
                <a:gd name="connsiteX2" fmla="*/ 0 w 843591"/>
                <a:gd name="connsiteY2" fmla="*/ 75409 h 150818"/>
                <a:gd name="connsiteX3" fmla="*/ 75409 w 843591"/>
                <a:gd name="connsiteY3" fmla="*/ 0 h 150818"/>
                <a:gd name="connsiteX4" fmla="*/ 768182 w 843591"/>
                <a:gd name="connsiteY4" fmla="*/ 0 h 150818"/>
                <a:gd name="connsiteX5" fmla="*/ 843591 w 843591"/>
                <a:gd name="connsiteY5" fmla="*/ 75409 h 150818"/>
                <a:gd name="connsiteX6" fmla="*/ 768182 w 843591"/>
                <a:gd name="connsiteY6" fmla="*/ 150819 h 15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591" h="150818">
                  <a:moveTo>
                    <a:pt x="768182" y="150819"/>
                  </a:moveTo>
                  <a:lnTo>
                    <a:pt x="75409" y="150819"/>
                  </a:lnTo>
                  <a:cubicBezTo>
                    <a:pt x="33747" y="150819"/>
                    <a:pt x="0" y="117062"/>
                    <a:pt x="0" y="75409"/>
                  </a:cubicBezTo>
                  <a:cubicBezTo>
                    <a:pt x="0" y="33757"/>
                    <a:pt x="33757" y="0"/>
                    <a:pt x="75409" y="0"/>
                  </a:cubicBezTo>
                  <a:lnTo>
                    <a:pt x="768182" y="0"/>
                  </a:lnTo>
                  <a:cubicBezTo>
                    <a:pt x="809844" y="0"/>
                    <a:pt x="843591" y="33757"/>
                    <a:pt x="843591" y="75409"/>
                  </a:cubicBezTo>
                  <a:cubicBezTo>
                    <a:pt x="843591" y="117062"/>
                    <a:pt x="809844" y="150819"/>
                    <a:pt x="768182" y="150819"/>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6" name="Freeform: Shape 85">
              <a:extLst>
                <a:ext uri="{FF2B5EF4-FFF2-40B4-BE49-F238E27FC236}">
                  <a16:creationId xmlns:a16="http://schemas.microsoft.com/office/drawing/2014/main" id="{15549D11-F1A1-97E3-D883-0C78CACD413D}"/>
                </a:ext>
              </a:extLst>
            </p:cNvPr>
            <p:cNvSpPr/>
            <p:nvPr/>
          </p:nvSpPr>
          <p:spPr>
            <a:xfrm>
              <a:off x="5444947" y="2455687"/>
              <a:ext cx="1302105" cy="1302105"/>
            </a:xfrm>
            <a:custGeom>
              <a:avLst/>
              <a:gdLst>
                <a:gd name="connsiteX0" fmla="*/ 651053 w 1302105"/>
                <a:gd name="connsiteY0" fmla="*/ 0 h 1302105"/>
                <a:gd name="connsiteX1" fmla="*/ 0 w 1302105"/>
                <a:gd name="connsiteY1" fmla="*/ 651053 h 1302105"/>
                <a:gd name="connsiteX2" fmla="*/ 651053 w 1302105"/>
                <a:gd name="connsiteY2" fmla="*/ 1302106 h 1302105"/>
                <a:gd name="connsiteX3" fmla="*/ 1302106 w 1302105"/>
                <a:gd name="connsiteY3" fmla="*/ 651053 h 1302105"/>
                <a:gd name="connsiteX4" fmla="*/ 651053 w 1302105"/>
                <a:gd name="connsiteY4" fmla="*/ 0 h 1302105"/>
                <a:gd name="connsiteX5" fmla="*/ 913619 w 1302105"/>
                <a:gd name="connsiteY5" fmla="*/ 554917 h 1302105"/>
                <a:gd name="connsiteX6" fmla="*/ 614677 w 1302105"/>
                <a:gd name="connsiteY6" fmla="*/ 853859 h 1302105"/>
                <a:gd name="connsiteX7" fmla="*/ 508044 w 1302105"/>
                <a:gd name="connsiteY7" fmla="*/ 853859 h 1302105"/>
                <a:gd name="connsiteX8" fmla="*/ 388496 w 1302105"/>
                <a:gd name="connsiteY8" fmla="*/ 734330 h 1302105"/>
                <a:gd name="connsiteX9" fmla="*/ 388496 w 1302105"/>
                <a:gd name="connsiteY9" fmla="*/ 627697 h 1302105"/>
                <a:gd name="connsiteX10" fmla="*/ 495129 w 1302105"/>
                <a:gd name="connsiteY10" fmla="*/ 627697 h 1302105"/>
                <a:gd name="connsiteX11" fmla="*/ 561356 w 1302105"/>
                <a:gd name="connsiteY11" fmla="*/ 693906 h 1302105"/>
                <a:gd name="connsiteX12" fmla="*/ 806987 w 1302105"/>
                <a:gd name="connsiteY12" fmla="*/ 448275 h 1302105"/>
                <a:gd name="connsiteX13" fmla="*/ 913619 w 1302105"/>
                <a:gd name="connsiteY13" fmla="*/ 448275 h 1302105"/>
                <a:gd name="connsiteX14" fmla="*/ 913619 w 1302105"/>
                <a:gd name="connsiteY14" fmla="*/ 554917 h 13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2105" h="1302105">
                  <a:moveTo>
                    <a:pt x="651053" y="0"/>
                  </a:moveTo>
                  <a:cubicBezTo>
                    <a:pt x="292094" y="0"/>
                    <a:pt x="0" y="292094"/>
                    <a:pt x="0" y="651053"/>
                  </a:cubicBezTo>
                  <a:cubicBezTo>
                    <a:pt x="0" y="1010012"/>
                    <a:pt x="292094" y="1302106"/>
                    <a:pt x="651053" y="1302106"/>
                  </a:cubicBezTo>
                  <a:cubicBezTo>
                    <a:pt x="1010012" y="1302106"/>
                    <a:pt x="1302106" y="1010012"/>
                    <a:pt x="1302106" y="651053"/>
                  </a:cubicBezTo>
                  <a:cubicBezTo>
                    <a:pt x="1302106" y="292094"/>
                    <a:pt x="1010012" y="0"/>
                    <a:pt x="651053" y="0"/>
                  </a:cubicBezTo>
                  <a:close/>
                  <a:moveTo>
                    <a:pt x="913619" y="554917"/>
                  </a:moveTo>
                  <a:lnTo>
                    <a:pt x="614677" y="853859"/>
                  </a:lnTo>
                  <a:cubicBezTo>
                    <a:pt x="585216" y="883320"/>
                    <a:pt x="537496" y="883320"/>
                    <a:pt x="508044" y="853859"/>
                  </a:cubicBezTo>
                  <a:lnTo>
                    <a:pt x="388496" y="734330"/>
                  </a:lnTo>
                  <a:cubicBezTo>
                    <a:pt x="359035" y="704898"/>
                    <a:pt x="359035" y="657149"/>
                    <a:pt x="388496" y="627697"/>
                  </a:cubicBezTo>
                  <a:cubicBezTo>
                    <a:pt x="417909" y="598237"/>
                    <a:pt x="465677" y="598237"/>
                    <a:pt x="495129" y="627697"/>
                  </a:cubicBezTo>
                  <a:lnTo>
                    <a:pt x="561356" y="693906"/>
                  </a:lnTo>
                  <a:lnTo>
                    <a:pt x="806987" y="448275"/>
                  </a:lnTo>
                  <a:cubicBezTo>
                    <a:pt x="836447" y="418814"/>
                    <a:pt x="884168" y="418814"/>
                    <a:pt x="913619" y="448275"/>
                  </a:cubicBezTo>
                  <a:cubicBezTo>
                    <a:pt x="943080" y="477707"/>
                    <a:pt x="943080" y="525485"/>
                    <a:pt x="913619" y="554917"/>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grpSp>
      <p:grpSp>
        <p:nvGrpSpPr>
          <p:cNvPr id="100" name="Group 99">
            <a:extLst>
              <a:ext uri="{FF2B5EF4-FFF2-40B4-BE49-F238E27FC236}">
                <a16:creationId xmlns:a16="http://schemas.microsoft.com/office/drawing/2014/main" id="{F93994F5-0C43-34EF-874E-42C908B667C4}"/>
              </a:ext>
              <a:ext uri="{C183D7F6-B498-43B3-948B-1728B52AA6E4}">
                <adec:decorative xmlns:adec="http://schemas.microsoft.com/office/drawing/2017/decorative" val="1"/>
              </a:ext>
            </a:extLst>
          </p:cNvPr>
          <p:cNvGrpSpPr/>
          <p:nvPr/>
        </p:nvGrpSpPr>
        <p:grpSpPr>
          <a:xfrm>
            <a:off x="7742712" y="1553773"/>
            <a:ext cx="1120138" cy="918368"/>
            <a:chOff x="4932349" y="2640685"/>
            <a:chExt cx="1840149" cy="2209407"/>
          </a:xfrm>
        </p:grpSpPr>
        <p:sp>
          <p:nvSpPr>
            <p:cNvPr id="101" name="Arc 100">
              <a:extLst>
                <a:ext uri="{FF2B5EF4-FFF2-40B4-BE49-F238E27FC236}">
                  <a16:creationId xmlns:a16="http://schemas.microsoft.com/office/drawing/2014/main" id="{7D918635-182B-98B6-1FBF-48B9B1F6B0BB}"/>
                </a:ext>
              </a:extLst>
            </p:cNvPr>
            <p:cNvSpPr/>
            <p:nvPr/>
          </p:nvSpPr>
          <p:spPr>
            <a:xfrm rot="5400000" flipH="1">
              <a:off x="5265801" y="374880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Arc 101">
              <a:extLst>
                <a:ext uri="{FF2B5EF4-FFF2-40B4-BE49-F238E27FC236}">
                  <a16:creationId xmlns:a16="http://schemas.microsoft.com/office/drawing/2014/main" id="{1277CC6E-112A-8567-AC63-13ECD48D7F30}"/>
                </a:ext>
              </a:extLst>
            </p:cNvPr>
            <p:cNvSpPr/>
            <p:nvPr/>
          </p:nvSpPr>
          <p:spPr>
            <a:xfrm rot="5400000">
              <a:off x="5267498" y="352176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3" name="Group 102">
              <a:extLst>
                <a:ext uri="{FF2B5EF4-FFF2-40B4-BE49-F238E27FC236}">
                  <a16:creationId xmlns:a16="http://schemas.microsoft.com/office/drawing/2014/main" id="{610278F9-BD44-F09D-DC49-44CB30B09325}"/>
                </a:ext>
              </a:extLst>
            </p:cNvPr>
            <p:cNvGrpSpPr/>
            <p:nvPr/>
          </p:nvGrpSpPr>
          <p:grpSpPr>
            <a:xfrm>
              <a:off x="4932349" y="2640685"/>
              <a:ext cx="1840149" cy="2209407"/>
              <a:chOff x="4932349" y="2640685"/>
              <a:chExt cx="1840149" cy="2209407"/>
            </a:xfrm>
          </p:grpSpPr>
          <p:grpSp>
            <p:nvGrpSpPr>
              <p:cNvPr id="104" name="Group 103">
                <a:extLst>
                  <a:ext uri="{FF2B5EF4-FFF2-40B4-BE49-F238E27FC236}">
                    <a16:creationId xmlns:a16="http://schemas.microsoft.com/office/drawing/2014/main" id="{9E96C2A4-A55C-FDAA-291B-9EBDB1B31583}"/>
                  </a:ext>
                </a:extLst>
              </p:cNvPr>
              <p:cNvGrpSpPr/>
              <p:nvPr/>
            </p:nvGrpSpPr>
            <p:grpSpPr>
              <a:xfrm>
                <a:off x="5493360" y="3862583"/>
                <a:ext cx="1279138" cy="987509"/>
                <a:chOff x="5493360" y="3862583"/>
                <a:chExt cx="1279138" cy="987509"/>
              </a:xfrm>
            </p:grpSpPr>
            <p:sp>
              <p:nvSpPr>
                <p:cNvPr id="111" name="Arc 110">
                  <a:extLst>
                    <a:ext uri="{FF2B5EF4-FFF2-40B4-BE49-F238E27FC236}">
                      <a16:creationId xmlns:a16="http://schemas.microsoft.com/office/drawing/2014/main" id="{79DB56DA-3D4C-8265-AF2C-B52138DF120D}"/>
                    </a:ext>
                  </a:extLst>
                </p:cNvPr>
                <p:cNvSpPr/>
                <p:nvPr/>
              </p:nvSpPr>
              <p:spPr>
                <a:xfrm rot="16200000" flipH="1">
                  <a:off x="5493364"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2" name="Group 111">
                  <a:extLst>
                    <a:ext uri="{FF2B5EF4-FFF2-40B4-BE49-F238E27FC236}">
                      <a16:creationId xmlns:a16="http://schemas.microsoft.com/office/drawing/2014/main" id="{E4C84D69-685B-9641-0E99-6667589EDBCE}"/>
                    </a:ext>
                  </a:extLst>
                </p:cNvPr>
                <p:cNvGrpSpPr/>
                <p:nvPr/>
              </p:nvGrpSpPr>
              <p:grpSpPr>
                <a:xfrm>
                  <a:off x="5493360" y="3862583"/>
                  <a:ext cx="1279138" cy="987509"/>
                  <a:chOff x="5493360" y="3862583"/>
                  <a:chExt cx="1279138" cy="987509"/>
                </a:xfrm>
              </p:grpSpPr>
              <p:cxnSp>
                <p:nvCxnSpPr>
                  <p:cNvPr id="113" name="Straight Connector 112">
                    <a:extLst>
                      <a:ext uri="{FF2B5EF4-FFF2-40B4-BE49-F238E27FC236}">
                        <a16:creationId xmlns:a16="http://schemas.microsoft.com/office/drawing/2014/main" id="{6576ECAC-873C-6AD6-D19F-B58C1BC215C7}"/>
                      </a:ext>
                    </a:extLst>
                  </p:cNvPr>
                  <p:cNvCxnSpPr>
                    <a:cxnSpLocks/>
                    <a:stCxn id="101" idx="0"/>
                    <a:endCxn id="111" idx="0"/>
                  </p:cNvCxnSpPr>
                  <p:nvPr/>
                </p:nvCxnSpPr>
                <p:spPr>
                  <a:xfrm>
                    <a:off x="5493360"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4BA5DE-AAEC-AD12-2D0C-16596AB2C6CA}"/>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cxnSp>
            <p:nvCxnSpPr>
              <p:cNvPr id="105" name="Straight Connector 104">
                <a:extLst>
                  <a:ext uri="{FF2B5EF4-FFF2-40B4-BE49-F238E27FC236}">
                    <a16:creationId xmlns:a16="http://schemas.microsoft.com/office/drawing/2014/main" id="{AF009785-82F8-337A-EC5D-2899B1D77496}"/>
                  </a:ext>
                </a:extLst>
              </p:cNvPr>
              <p:cNvCxnSpPr>
                <a:cxnSpLocks/>
                <a:endCxn id="102" idx="2"/>
              </p:cNvCxnSpPr>
              <p:nvPr/>
            </p:nvCxnSpPr>
            <p:spPr>
              <a:xfrm>
                <a:off x="4932349" y="3749292"/>
                <a:ext cx="448928" cy="3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A981A4C8-512F-4D5D-9F44-1E230B2B2619}"/>
                  </a:ext>
                </a:extLst>
              </p:cNvPr>
              <p:cNvGrpSpPr/>
              <p:nvPr/>
            </p:nvGrpSpPr>
            <p:grpSpPr>
              <a:xfrm flipV="1">
                <a:off x="5495741" y="2640685"/>
                <a:ext cx="1276757" cy="987509"/>
                <a:chOff x="5495741" y="3862583"/>
                <a:chExt cx="1276757" cy="987509"/>
              </a:xfrm>
            </p:grpSpPr>
            <p:sp>
              <p:nvSpPr>
                <p:cNvPr id="107" name="Arc 106">
                  <a:extLst>
                    <a:ext uri="{FF2B5EF4-FFF2-40B4-BE49-F238E27FC236}">
                      <a16:creationId xmlns:a16="http://schemas.microsoft.com/office/drawing/2014/main" id="{12541201-A7F6-A0BD-4767-C0C975917BC9}"/>
                    </a:ext>
                  </a:extLst>
                </p:cNvPr>
                <p:cNvSpPr/>
                <p:nvPr/>
              </p:nvSpPr>
              <p:spPr>
                <a:xfrm rot="16200000" flipH="1">
                  <a:off x="5495745"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oup 107">
                  <a:extLst>
                    <a:ext uri="{FF2B5EF4-FFF2-40B4-BE49-F238E27FC236}">
                      <a16:creationId xmlns:a16="http://schemas.microsoft.com/office/drawing/2014/main" id="{0D94FEA0-1538-0BD4-BB44-B9F17B088468}"/>
                    </a:ext>
                  </a:extLst>
                </p:cNvPr>
                <p:cNvGrpSpPr/>
                <p:nvPr/>
              </p:nvGrpSpPr>
              <p:grpSpPr>
                <a:xfrm>
                  <a:off x="5495741" y="3862583"/>
                  <a:ext cx="1276757" cy="987509"/>
                  <a:chOff x="5495741" y="3862583"/>
                  <a:chExt cx="1276757" cy="987509"/>
                </a:xfrm>
              </p:grpSpPr>
              <p:cxnSp>
                <p:nvCxnSpPr>
                  <p:cNvPr id="109" name="Straight Connector 108">
                    <a:extLst>
                      <a:ext uri="{FF2B5EF4-FFF2-40B4-BE49-F238E27FC236}">
                        <a16:creationId xmlns:a16="http://schemas.microsoft.com/office/drawing/2014/main" id="{292A81AA-DDAA-F1C0-10BC-CFA60369F0DC}"/>
                      </a:ext>
                    </a:extLst>
                  </p:cNvPr>
                  <p:cNvCxnSpPr>
                    <a:cxnSpLocks/>
                  </p:cNvCxnSpPr>
                  <p:nvPr/>
                </p:nvCxnSpPr>
                <p:spPr>
                  <a:xfrm>
                    <a:off x="5495741"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F5CC10D-72DB-82CC-39FD-8904F10E1A14}"/>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grpSp>
      </p:grpSp>
      <p:sp>
        <p:nvSpPr>
          <p:cNvPr id="115" name="Rectangle: Rounded Corners 2">
            <a:extLst>
              <a:ext uri="{FF2B5EF4-FFF2-40B4-BE49-F238E27FC236}">
                <a16:creationId xmlns:a16="http://schemas.microsoft.com/office/drawing/2014/main" id="{C074FB6F-11C7-8D4E-EF11-B07CE23EAAE7}"/>
              </a:ext>
              <a:ext uri="{C183D7F6-B498-43B3-948B-1728B52AA6E4}">
                <adec:decorative xmlns:adec="http://schemas.microsoft.com/office/drawing/2017/decorative" val="1"/>
              </a:ext>
            </a:extLst>
          </p:cNvPr>
          <p:cNvSpPr>
            <a:spLocks/>
          </p:cNvSpPr>
          <p:nvPr/>
        </p:nvSpPr>
        <p:spPr bwMode="auto">
          <a:xfrm>
            <a:off x="8954862" y="225300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116" name="TextBox 115">
            <a:extLst>
              <a:ext uri="{FF2B5EF4-FFF2-40B4-BE49-F238E27FC236}">
                <a16:creationId xmlns:a16="http://schemas.microsoft.com/office/drawing/2014/main" id="{5D7AF120-B897-5C27-29EA-492FFDF65AB3}"/>
              </a:ext>
              <a:ext uri="{C183D7F6-B498-43B3-948B-1728B52AA6E4}">
                <adec:decorative xmlns:adec="http://schemas.microsoft.com/office/drawing/2017/decorative" val="1"/>
              </a:ext>
            </a:extLst>
          </p:cNvPr>
          <p:cNvSpPr txBox="1"/>
          <p:nvPr/>
        </p:nvSpPr>
        <p:spPr>
          <a:xfrm>
            <a:off x="8780318" y="1853831"/>
            <a:ext cx="267046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Data Sources</a:t>
            </a:r>
          </a:p>
        </p:txBody>
      </p:sp>
      <p:pic>
        <p:nvPicPr>
          <p:cNvPr id="126" name="Picture 2">
            <a:extLst>
              <a:ext uri="{FF2B5EF4-FFF2-40B4-BE49-F238E27FC236}">
                <a16:creationId xmlns:a16="http://schemas.microsoft.com/office/drawing/2014/main" id="{F2254518-298C-EEF3-D240-8DD14967023C}"/>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604189" y="2359061"/>
            <a:ext cx="337332" cy="337991"/>
          </a:xfrm>
          <a:prstGeom prst="rect">
            <a:avLst/>
          </a:prstGeom>
          <a:ln w="6657" cap="flat">
            <a:noFill/>
            <a:prstDash val="solid"/>
            <a:miter/>
          </a:ln>
          <a:effectLst/>
          <a:extLst>
            <a:ext uri="{909E8E84-426E-40DD-AFC4-6F175D3DCCD1}">
              <a14:hiddenFill xmlns:a14="http://schemas.microsoft.com/office/drawing/2010/main">
                <a:solidFill>
                  <a:srgbClr val="FFFFFF"/>
                </a:solidFill>
              </a14:hiddenFill>
            </a:ext>
          </a:extLst>
        </p:spPr>
      </p:pic>
      <p:pic>
        <p:nvPicPr>
          <p:cNvPr id="127" name="Graphic 126">
            <a:extLst>
              <a:ext uri="{FF2B5EF4-FFF2-40B4-BE49-F238E27FC236}">
                <a16:creationId xmlns:a16="http://schemas.microsoft.com/office/drawing/2014/main" id="{62FE76AB-815B-3EC1-54BE-86883410390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44050" y="2404027"/>
            <a:ext cx="315798" cy="271333"/>
          </a:xfrm>
          <a:prstGeom prst="rect">
            <a:avLst/>
          </a:prstGeom>
          <a:effectLst/>
        </p:spPr>
      </p:pic>
      <p:pic>
        <p:nvPicPr>
          <p:cNvPr id="7" name="Graphic 14">
            <a:extLst>
              <a:ext uri="{FF2B5EF4-FFF2-40B4-BE49-F238E27FC236}">
                <a16:creationId xmlns:a16="http://schemas.microsoft.com/office/drawing/2014/main" id="{A5B5BCB1-FDCF-8F54-DAB6-64BFDC98A5B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bwMode="auto">
          <a:xfrm>
            <a:off x="10030505" y="240486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Rounded Corners 2">
            <a:extLst>
              <a:ext uri="{FF2B5EF4-FFF2-40B4-BE49-F238E27FC236}">
                <a16:creationId xmlns:a16="http://schemas.microsoft.com/office/drawing/2014/main" id="{C354502C-2B1D-5A86-7AE3-385B40A02E3B}"/>
              </a:ext>
              <a:ext uri="{C183D7F6-B498-43B3-948B-1728B52AA6E4}">
                <adec:decorative xmlns:adec="http://schemas.microsoft.com/office/drawing/2017/decorative" val="1"/>
              </a:ext>
            </a:extLst>
          </p:cNvPr>
          <p:cNvSpPr/>
          <p:nvPr/>
        </p:nvSpPr>
        <p:spPr bwMode="auto">
          <a:xfrm>
            <a:off x="5829300" y="804862"/>
            <a:ext cx="2652711" cy="2105023"/>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6" name="Group 5" descr="data sources">
            <a:extLst>
              <a:ext uri="{FF2B5EF4-FFF2-40B4-BE49-F238E27FC236}">
                <a16:creationId xmlns:a16="http://schemas.microsoft.com/office/drawing/2014/main" id="{46349C6E-520C-4A50-82E8-74C212C4E2B5}"/>
              </a:ext>
            </a:extLst>
          </p:cNvPr>
          <p:cNvGrpSpPr/>
          <p:nvPr/>
        </p:nvGrpSpPr>
        <p:grpSpPr>
          <a:xfrm>
            <a:off x="8954861" y="1104760"/>
            <a:ext cx="2321380" cy="596709"/>
            <a:chOff x="8954861" y="1104760"/>
            <a:chExt cx="2321380" cy="596709"/>
          </a:xfrm>
        </p:grpSpPr>
        <p:sp>
          <p:nvSpPr>
            <p:cNvPr id="99" name="Rectangle: Rounded Corners 98">
              <a:extLst>
                <a:ext uri="{FF2B5EF4-FFF2-40B4-BE49-F238E27FC236}">
                  <a16:creationId xmlns:a16="http://schemas.microsoft.com/office/drawing/2014/main" id="{20E18537-CE74-A9AA-CB36-C9FD3BEEB121}"/>
                </a:ext>
                <a:ext uri="{C183D7F6-B498-43B3-948B-1728B52AA6E4}">
                  <adec:decorative xmlns:adec="http://schemas.microsoft.com/office/drawing/2017/decorative" val="1"/>
                </a:ext>
              </a:extLst>
            </p:cNvPr>
            <p:cNvSpPr>
              <a:spLocks/>
            </p:cNvSpPr>
            <p:nvPr/>
          </p:nvSpPr>
          <p:spPr bwMode="auto">
            <a:xfrm>
              <a:off x="8954861" y="110476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117" name="Graphic 116">
              <a:extLst>
                <a:ext uri="{FF2B5EF4-FFF2-40B4-BE49-F238E27FC236}">
                  <a16:creationId xmlns:a16="http://schemas.microsoft.com/office/drawing/2014/main" id="{D015790A-9168-6181-AD31-1B0867CBA0E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11275" y="1260151"/>
              <a:ext cx="285926" cy="285925"/>
            </a:xfrm>
            <a:prstGeom prst="rect">
              <a:avLst/>
            </a:prstGeom>
            <a:effectLst/>
          </p:spPr>
        </p:pic>
        <p:grpSp>
          <p:nvGrpSpPr>
            <p:cNvPr id="118" name="Group 117">
              <a:extLst>
                <a:ext uri="{FF2B5EF4-FFF2-40B4-BE49-F238E27FC236}">
                  <a16:creationId xmlns:a16="http://schemas.microsoft.com/office/drawing/2014/main" id="{8FC9CE3C-66E7-D24B-B3E5-C22E563EAB83}"/>
                </a:ext>
                <a:ext uri="{C183D7F6-B498-43B3-948B-1728B52AA6E4}">
                  <adec:decorative xmlns:adec="http://schemas.microsoft.com/office/drawing/2017/decorative" val="1"/>
                </a:ext>
              </a:extLst>
            </p:cNvPr>
            <p:cNvGrpSpPr/>
            <p:nvPr/>
          </p:nvGrpSpPr>
          <p:grpSpPr>
            <a:xfrm>
              <a:off x="10348336" y="1271413"/>
              <a:ext cx="219845" cy="263399"/>
              <a:chOff x="8721573" y="1756372"/>
              <a:chExt cx="504624" cy="604601"/>
            </a:xfrm>
            <a:effectLst/>
          </p:grpSpPr>
          <p:sp>
            <p:nvSpPr>
              <p:cNvPr id="119" name="Freeform 88">
                <a:extLst>
                  <a:ext uri="{FF2B5EF4-FFF2-40B4-BE49-F238E27FC236}">
                    <a16:creationId xmlns:a16="http://schemas.microsoft.com/office/drawing/2014/main" id="{CE47F25B-BAA4-5E09-56B7-A6AE68C9DB7B}"/>
                  </a:ext>
                </a:extLst>
              </p:cNvPr>
              <p:cNvSpPr>
                <a:spLocks/>
              </p:cNvSpPr>
              <p:nvPr/>
            </p:nvSpPr>
            <p:spPr bwMode="auto">
              <a:xfrm>
                <a:off x="8782369" y="1810878"/>
                <a:ext cx="443828" cy="55009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100000">
                    <a:srgbClr val="0078D4"/>
                  </a:gs>
                  <a:gs pos="63000">
                    <a:srgbClr val="0078D4">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120" name="file" descr="file, paper, sheet">
                <a:extLst>
                  <a:ext uri="{FF2B5EF4-FFF2-40B4-BE49-F238E27FC236}">
                    <a16:creationId xmlns:a16="http://schemas.microsoft.com/office/drawing/2014/main" id="{8D61EE79-A1A6-F3BB-8C89-88C5764EED72}"/>
                  </a:ext>
                </a:extLst>
              </p:cNvPr>
              <p:cNvGrpSpPr/>
              <p:nvPr/>
            </p:nvGrpSpPr>
            <p:grpSpPr>
              <a:xfrm>
                <a:off x="8721573" y="1756372"/>
                <a:ext cx="443832" cy="550097"/>
                <a:chOff x="8018464" y="4649789"/>
                <a:chExt cx="225427" cy="279401"/>
              </a:xfrm>
            </p:grpSpPr>
            <p:sp>
              <p:nvSpPr>
                <p:cNvPr id="121" name="Freeform 88">
                  <a:extLst>
                    <a:ext uri="{FF2B5EF4-FFF2-40B4-BE49-F238E27FC236}">
                      <a16:creationId xmlns:a16="http://schemas.microsoft.com/office/drawing/2014/main" id="{52F4A033-A3FC-09F0-0827-E43077FA5ADF}"/>
                    </a:ext>
                  </a:extLst>
                </p:cNvPr>
                <p:cNvSpPr>
                  <a:spLocks/>
                </p:cNvSpPr>
                <p:nvPr/>
              </p:nvSpPr>
              <p:spPr bwMode="auto">
                <a:xfrm>
                  <a:off x="8018466"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89">
                  <a:extLst>
                    <a:ext uri="{FF2B5EF4-FFF2-40B4-BE49-F238E27FC236}">
                      <a16:creationId xmlns:a16="http://schemas.microsoft.com/office/drawing/2014/main" id="{F8FA11A6-55FC-2390-A055-87B3520AC140}"/>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3" name="Line 90">
                  <a:extLst>
                    <a:ext uri="{FF2B5EF4-FFF2-40B4-BE49-F238E27FC236}">
                      <a16:creationId xmlns:a16="http://schemas.microsoft.com/office/drawing/2014/main" id="{64235566-99ED-5358-5128-0965DD6E28BA}"/>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A619F9B4-8C12-F4D7-0311-58C0A9017A43}"/>
                </a:ext>
              </a:extLst>
            </p:cNvPr>
            <p:cNvPicPr>
              <a:picLocks noChangeAspect="1"/>
            </p:cNvPicPr>
            <p:nvPr/>
          </p:nvPicPr>
          <p:blipFill rotWithShape="1">
            <a:blip r:embed="rId14"/>
            <a:srcRect l="28263" t="2521" r="26768" b="-2521"/>
            <a:stretch/>
          </p:blipFill>
          <p:spPr>
            <a:xfrm>
              <a:off x="9176008" y="1235493"/>
              <a:ext cx="481196" cy="361137"/>
            </a:xfrm>
            <a:prstGeom prst="rect">
              <a:avLst/>
            </a:prstGeom>
          </p:spPr>
        </p:pic>
        <p:pic>
          <p:nvPicPr>
            <p:cNvPr id="4" name="Graphic 1">
              <a:extLst>
                <a:ext uri="{FF2B5EF4-FFF2-40B4-BE49-F238E27FC236}">
                  <a16:creationId xmlns:a16="http://schemas.microsoft.com/office/drawing/2014/main" id="{7CAA668D-A626-3B97-1C23-0B3770F16B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29788" y="1249036"/>
              <a:ext cx="287490" cy="314809"/>
            </a:xfrm>
            <a:prstGeom prst="rect">
              <a:avLst/>
            </a:prstGeom>
          </p:spPr>
        </p:pic>
      </p:grpSp>
      <p:pic>
        <p:nvPicPr>
          <p:cNvPr id="11" name="Picture 10">
            <a:extLst>
              <a:ext uri="{FF2B5EF4-FFF2-40B4-BE49-F238E27FC236}">
                <a16:creationId xmlns:a16="http://schemas.microsoft.com/office/drawing/2014/main" id="{E3ED9E77-23AE-0C88-879C-E694FAC218CC}"/>
              </a:ext>
              <a:ext uri="{C183D7F6-B498-43B3-948B-1728B52AA6E4}">
                <adec:decorative xmlns:adec="http://schemas.microsoft.com/office/drawing/2017/decorative" val="1"/>
              </a:ext>
            </a:extLst>
          </p:cNvPr>
          <p:cNvPicPr>
            <a:picLocks noChangeAspect="1"/>
          </p:cNvPicPr>
          <p:nvPr/>
        </p:nvPicPr>
        <p:blipFill rotWithShape="1">
          <a:blip r:embed="rId17">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4348122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8" name="Rounded Rectangle 20">
            <a:extLst>
              <a:ext uri="{FF2B5EF4-FFF2-40B4-BE49-F238E27FC236}">
                <a16:creationId xmlns:a16="http://schemas.microsoft.com/office/drawing/2014/main" id="{FB36ECB8-A76A-80E2-1AE5-1983AF618B9B}"/>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Box 18">
            <a:extLst>
              <a:ext uri="{FF2B5EF4-FFF2-40B4-BE49-F238E27FC236}">
                <a16:creationId xmlns:a16="http://schemas.microsoft.com/office/drawing/2014/main" id="{A3E4C52F-9C25-FF86-85B0-3C6BF5DAAF27}"/>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17" name="Rounded Rectangle 5">
            <a:extLst>
              <a:ext uri="{FF2B5EF4-FFF2-40B4-BE49-F238E27FC236}">
                <a16:creationId xmlns:a16="http://schemas.microsoft.com/office/drawing/2014/main" id="{6E027C5A-60F3-D595-5035-D65C706188F2}"/>
              </a:ext>
              <a:ext uri="{C183D7F6-B498-43B3-948B-1728B52AA6E4}">
                <adec:decorative xmlns:adec="http://schemas.microsoft.com/office/drawing/2017/decorative" val="1"/>
              </a:ext>
            </a:extLst>
          </p:cNvPr>
          <p:cNvSpPr/>
          <p:nvPr/>
        </p:nvSpPr>
        <p:spPr bwMode="auto">
          <a:xfrm>
            <a:off x="2114550" y="1367149"/>
            <a:ext cx="3506504"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 name="Rounded Rectangle 22">
            <a:extLst>
              <a:ext uri="{FF2B5EF4-FFF2-40B4-BE49-F238E27FC236}">
                <a16:creationId xmlns:a16="http://schemas.microsoft.com/office/drawing/2014/main" id="{9744F583-CA92-F4B7-2348-025A533F8817}"/>
              </a:ext>
              <a:ext uri="{C183D7F6-B498-43B3-948B-1728B52AA6E4}">
                <adec:decorative xmlns:adec="http://schemas.microsoft.com/office/drawing/2017/decorative" val="1"/>
              </a:ext>
            </a:extLst>
          </p:cNvPr>
          <p:cNvSpPr/>
          <p:nvPr/>
        </p:nvSpPr>
        <p:spPr bwMode="auto">
          <a:xfrm>
            <a:off x="2358058" y="1862110"/>
            <a:ext cx="667226" cy="343924"/>
          </a:xfrm>
          <a:prstGeom prst="roundRect">
            <a:avLst>
              <a:gd name="adj" fmla="val 50000"/>
            </a:avLst>
          </a:prstGeom>
          <a:gradFill flip="none" rotWithShape="1">
            <a:gsLst>
              <a:gs pos="61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5" name="Text Placeholder 4">
            <a:extLst>
              <a:ext uri="{FF2B5EF4-FFF2-40B4-BE49-F238E27FC236}">
                <a16:creationId xmlns:a16="http://schemas.microsoft.com/office/drawing/2014/main" id="{56690721-4871-5F06-15D9-142A2D05293A}"/>
              </a:ext>
              <a:ext uri="{C183D7F6-B498-43B3-948B-1728B52AA6E4}">
                <adec:decorative xmlns:adec="http://schemas.microsoft.com/office/drawing/2017/decorative" val="1"/>
              </a:ext>
            </a:extLst>
          </p:cNvPr>
          <p:cNvSpPr txBox="1">
            <a:spLocks/>
          </p:cNvSpPr>
          <p:nvPr/>
        </p:nvSpPr>
        <p:spPr>
          <a:xfrm>
            <a:off x="2441337" y="1940984"/>
            <a:ext cx="2705269" cy="37010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18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Health Plus offers coverage for vision exams, glasses, and contact lenses, as well as dental exams, cleanings, and filling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endPar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 name="Rectangle: Rounded Corners 7">
            <a:extLst>
              <a:ext uri="{FF2B5EF4-FFF2-40B4-BE49-F238E27FC236}">
                <a16:creationId xmlns:a16="http://schemas.microsoft.com/office/drawing/2014/main" id="{DFD11E87-3208-02D3-4204-49C572541F0A}"/>
              </a:ext>
              <a:ext uri="{C183D7F6-B498-43B3-948B-1728B52AA6E4}">
                <adec:decorative xmlns:adec="http://schemas.microsoft.com/office/drawing/2017/decorative" val="1"/>
              </a:ext>
            </a:extLst>
          </p:cNvPr>
          <p:cNvSpPr/>
          <p:nvPr/>
        </p:nvSpPr>
        <p:spPr bwMode="auto">
          <a:xfrm>
            <a:off x="2303954" y="2278098"/>
            <a:ext cx="3025951"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Segoe UI" pitchFamily="34" charset="0"/>
              <a:cs typeface="Segoe Sans Text" pitchFamily="2" charset="0"/>
            </a:endParaRPr>
          </a:p>
        </p:txBody>
      </p:sp>
      <p:sp>
        <p:nvSpPr>
          <p:cNvPr id="9" name="Rectangle: Rounded Corners 8">
            <a:extLst>
              <a:ext uri="{FF2B5EF4-FFF2-40B4-BE49-F238E27FC236}">
                <a16:creationId xmlns:a16="http://schemas.microsoft.com/office/drawing/2014/main" id="{2EC15CA9-A5CD-8CF2-0764-44D1CD1AEA36}"/>
              </a:ext>
              <a:ext uri="{C183D7F6-B498-43B3-948B-1728B52AA6E4}">
                <adec:decorative xmlns:adec="http://schemas.microsoft.com/office/drawing/2017/decorative" val="1"/>
              </a:ext>
            </a:extLst>
          </p:cNvPr>
          <p:cNvSpPr/>
          <p:nvPr/>
        </p:nvSpPr>
        <p:spPr bwMode="auto">
          <a:xfrm>
            <a:off x="2303954" y="3541674"/>
            <a:ext cx="3026664"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0" name="Rectangle: Rounded Corners 9">
            <a:extLst>
              <a:ext uri="{FF2B5EF4-FFF2-40B4-BE49-F238E27FC236}">
                <a16:creationId xmlns:a16="http://schemas.microsoft.com/office/drawing/2014/main" id="{9361F6D5-02C8-205F-626D-61FA5C25235D}"/>
              </a:ext>
              <a:ext uri="{C183D7F6-B498-43B3-948B-1728B52AA6E4}">
                <adec:decorative xmlns:adec="http://schemas.microsoft.com/office/drawing/2017/decorative" val="1"/>
              </a:ext>
            </a:extLst>
          </p:cNvPr>
          <p:cNvSpPr/>
          <p:nvPr/>
        </p:nvSpPr>
        <p:spPr bwMode="auto">
          <a:xfrm>
            <a:off x="2303954" y="4097726"/>
            <a:ext cx="3026664" cy="168483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2" name="Connector: Elbow 11">
            <a:extLst>
              <a:ext uri="{FF2B5EF4-FFF2-40B4-BE49-F238E27FC236}">
                <a16:creationId xmlns:a16="http://schemas.microsoft.com/office/drawing/2014/main" id="{2EBE6B1A-DBB4-2D31-2B76-418C5D54115F}"/>
              </a:ext>
              <a:ext uri="{C183D7F6-B498-43B3-948B-1728B52AA6E4}">
                <adec:decorative xmlns:adec="http://schemas.microsoft.com/office/drawing/2017/decorative" val="1"/>
              </a:ext>
            </a:extLst>
          </p:cNvPr>
          <p:cNvCxnSpPr>
            <a:cxnSpLocks/>
            <a:stCxn id="11" idx="0"/>
            <a:endCxn id="8" idx="0"/>
          </p:cNvCxnSpPr>
          <p:nvPr/>
        </p:nvCxnSpPr>
        <p:spPr>
          <a:xfrm rot="16200000" flipH="1">
            <a:off x="2383761" y="844930"/>
            <a:ext cx="441049" cy="2425287"/>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608FA0F-1FB5-13ED-1B9B-110C87A1EBE3}"/>
              </a:ext>
              <a:ext uri="{C183D7F6-B498-43B3-948B-1728B52AA6E4}">
                <adec:decorative xmlns:adec="http://schemas.microsoft.com/office/drawing/2017/decorative" val="1"/>
              </a:ext>
            </a:extLst>
          </p:cNvPr>
          <p:cNvCxnSpPr>
            <a:cxnSpLocks/>
            <a:stCxn id="13" idx="1"/>
            <a:endCxn id="9" idx="3"/>
          </p:cNvCxnSpPr>
          <p:nvPr/>
        </p:nvCxnSpPr>
        <p:spPr>
          <a:xfrm rot="10800000">
            <a:off x="5330618" y="3770275"/>
            <a:ext cx="780766" cy="272347"/>
          </a:xfrm>
          <a:prstGeom prst="bentConnector3">
            <a:avLst>
              <a:gd name="adj1" fmla="val 41054"/>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93F3A72-AE21-D45A-3B08-9B71D15CDE0D}"/>
              </a:ext>
              <a:ext uri="{C183D7F6-B498-43B3-948B-1728B52AA6E4}">
                <adec:decorative xmlns:adec="http://schemas.microsoft.com/office/drawing/2017/decorative" val="1"/>
              </a:ext>
            </a:extLst>
          </p:cNvPr>
          <p:cNvCxnSpPr>
            <a:cxnSpLocks/>
            <a:stCxn id="15" idx="2"/>
            <a:endCxn id="10" idx="2"/>
          </p:cNvCxnSpPr>
          <p:nvPr/>
        </p:nvCxnSpPr>
        <p:spPr>
          <a:xfrm rot="16200000" flipH="1">
            <a:off x="2437816" y="4403093"/>
            <a:ext cx="334588" cy="2424351"/>
          </a:xfrm>
          <a:prstGeom prst="bentConnector3">
            <a:avLst>
              <a:gd name="adj1" fmla="val 168323"/>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478EDC5-1CA4-BA84-55CA-C89F4785EF01}"/>
              </a:ext>
            </a:extLst>
          </p:cNvPr>
          <p:cNvSpPr txBox="1"/>
          <p:nvPr/>
        </p:nvSpPr>
        <p:spPr>
          <a:xfrm>
            <a:off x="588263" y="1837049"/>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3" name="TextBox 12">
            <a:extLst>
              <a:ext uri="{FF2B5EF4-FFF2-40B4-BE49-F238E27FC236}">
                <a16:creationId xmlns:a16="http://schemas.microsoft.com/office/drawing/2014/main" id="{8457D6E2-862C-836E-0DB1-C3B6938445C5}"/>
              </a:ext>
            </a:extLst>
          </p:cNvPr>
          <p:cNvSpPr txBox="1"/>
          <p:nvPr/>
        </p:nvSpPr>
        <p:spPr>
          <a:xfrm>
            <a:off x="6111384" y="3504012"/>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15" name="TextBox 14">
            <a:extLst>
              <a:ext uri="{FF2B5EF4-FFF2-40B4-BE49-F238E27FC236}">
                <a16:creationId xmlns:a16="http://schemas.microsoft.com/office/drawing/2014/main" id="{F7A4B414-DF33-B4D7-2504-14420EBBA66F}"/>
              </a:ext>
            </a:extLst>
          </p:cNvPr>
          <p:cNvSpPr txBox="1"/>
          <p:nvPr/>
        </p:nvSpPr>
        <p:spPr>
          <a:xfrm>
            <a:off x="588263" y="4616978"/>
            <a:ext cx="1609344"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Sources used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 name="Title 1">
            <a:extLst>
              <a:ext uri="{FF2B5EF4-FFF2-40B4-BE49-F238E27FC236}">
                <a16:creationId xmlns:a16="http://schemas.microsoft.com/office/drawing/2014/main" id="{469CA37D-7F19-5F28-A09C-D74BB010DB61}"/>
              </a:ext>
            </a:extLst>
          </p:cNvPr>
          <p:cNvSpPr>
            <a:spLocks noGrp="1"/>
          </p:cNvSpPr>
          <p:nvPr>
            <p:ph type="title"/>
          </p:nvPr>
        </p:nvSpPr>
        <p:spPr>
          <a:xfrm>
            <a:off x="584200" y="-372410"/>
            <a:ext cx="5508419" cy="372410"/>
          </a:xfrm>
        </p:spPr>
        <p:txBody>
          <a:bodyPr vert="horz" wrap="square" lIns="0" tIns="64008" rIns="0" bIns="0" rtlCol="0" anchor="b">
            <a:spAutoFit/>
          </a:bodyPr>
          <a:lstStyle/>
          <a:p>
            <a:r>
              <a:rPr lang="en-US" dirty="0"/>
              <a:t>Prompting </a:t>
            </a:r>
            <a:r>
              <a:rPr lang="en-US" dirty="0" err="1"/>
              <a:t>GenAI</a:t>
            </a:r>
            <a:r>
              <a:rPr lang="en-US" dirty="0"/>
              <a:t> Example</a:t>
            </a:r>
          </a:p>
        </p:txBody>
      </p:sp>
    </p:spTree>
    <p:extLst>
      <p:ext uri="{BB962C8B-B14F-4D97-AF65-F5344CB8AC3E}">
        <p14:creationId xmlns:p14="http://schemas.microsoft.com/office/powerpoint/2010/main" val="233170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0"/>
                                  </p:stCondLst>
                                  <p:childTnLst>
                                    <p:animMotion origin="layout" path="M -6.25E-7 3.33333E-6 L -0.03672 3.33333E-6 " pathEditMode="relative" rAng="0" ptsTypes="AA">
                                      <p:cBhvr>
                                        <p:cTn id="12" dur="600" spd="-100000" fill="hold"/>
                                        <p:tgtEl>
                                          <p:spTgt spid="11"/>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4"/>
                                        </p:tgtEl>
                                        <p:attrNameLst>
                                          <p:attrName>ppt_x</p:attrName>
                                          <p:attrName>ppt_y</p:attrName>
                                        </p:attrNameLst>
                                      </p:cBhvr>
                                      <p:rCtr x="1836" y="0"/>
                                    </p:animMotion>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grpId="1" nodeType="withEffect">
                                  <p:stCondLst>
                                    <p:cond delay="0"/>
                                  </p:stCondLst>
                                  <p:childTnLst>
                                    <p:animMotion origin="layout" path="M -4.58333E-6 -2.59259E-6 L 0.03672 -2.59259E-6 " pathEditMode="relative" rAng="0" ptsTypes="AA">
                                      <p:cBhvr>
                                        <p:cTn id="25" dur="600" spd="-100000" fill="hold"/>
                                        <p:tgtEl>
                                          <p:spTgt spid="13"/>
                                        </p:tgtEl>
                                        <p:attrNameLst>
                                          <p:attrName>ppt_x</p:attrName>
                                          <p:attrName>ppt_y</p:attrName>
                                        </p:attrNameLst>
                                      </p:cBhvr>
                                      <p:rCtr x="1836" y="0"/>
                                    </p:animMotion>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100000" fill="hold" nodeType="withEffect">
                                  <p:stCondLst>
                                    <p:cond delay="0"/>
                                  </p:stCondLst>
                                  <p:childTnLst>
                                    <p:animMotion origin="layout" path="M 2.08333E-7 -7.40741E-7 L -0.03672 -7.40741E-7 " pathEditMode="relative" rAng="0" ptsTypes="AA">
                                      <p:cBhvr>
                                        <p:cTn id="30" dur="600" spd="-100000" fill="hold"/>
                                        <p:tgtEl>
                                          <p:spTgt spid="12"/>
                                        </p:tgtEl>
                                        <p:attrNameLst>
                                          <p:attrName>ppt_x</p:attrName>
                                          <p:attrName>ppt_y</p:attrName>
                                        </p:attrNameLst>
                                      </p:cBhvr>
                                      <p:rCtr x="-1836" y="0"/>
                                    </p:animMotion>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grpId="1" nodeType="withEffect">
                                  <p:stCondLst>
                                    <p:cond delay="0"/>
                                  </p:stCondLst>
                                  <p:childTnLst>
                                    <p:animMotion origin="layout" path="M -8.33333E-7 4.44444E-6 L -0.03672 4.44444E-6 " pathEditMode="relative" rAng="0" ptsTypes="AA">
                                      <p:cBhvr>
                                        <p:cTn id="35" dur="600" spd="-100000" fill="hold"/>
                                        <p:tgtEl>
                                          <p:spTgt spid="15"/>
                                        </p:tgtEl>
                                        <p:attrNameLst>
                                          <p:attrName>ppt_x</p:attrName>
                                          <p:attrName>ppt_y</p:attrName>
                                        </p:attrNameLst>
                                      </p:cBhvr>
                                      <p:rCtr x="-1836" y="0"/>
                                    </p:animMotion>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42" presetClass="path" presetSubtype="0" decel="100000" fill="hold" nodeType="withEffect">
                                  <p:stCondLst>
                                    <p:cond delay="0"/>
                                  </p:stCondLst>
                                  <p:childTnLst>
                                    <p:animMotion origin="layout" path="M 2.08333E-7 7.40741E-7 L -0.03672 7.40741E-7 " pathEditMode="relative" rAng="0" ptsTypes="AA">
                                      <p:cBhvr>
                                        <p:cTn id="40" dur="600" spd="-100000" fill="hold"/>
                                        <p:tgtEl>
                                          <p:spTgt spid="16"/>
                                        </p:tgtEl>
                                        <p:attrNameLst>
                                          <p:attrName>ppt_x</p:attrName>
                                          <p:attrName>ppt_y</p:attrName>
                                        </p:attrNameLst>
                                      </p:cBhvr>
                                      <p:rCtr x="-1836" y="0"/>
                                    </p:animMotion>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1" grpId="1"/>
      <p:bldP spid="13" grpId="0"/>
      <p:bldP spid="13" grpId="1"/>
      <p:bldP spid="15" grpId="0"/>
      <p:bldP spid="15"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834F3753-7CCE-92B6-66A0-B0E067F5E656}"/>
              </a:ext>
              <a:ext uri="{C183D7F6-B498-43B3-948B-1728B52AA6E4}">
                <adec:decorative xmlns:adec="http://schemas.microsoft.com/office/drawing/2017/decorative" val="1"/>
              </a:ext>
            </a:extLst>
          </p:cNvPr>
          <p:cNvCxnSpPr>
            <a:cxnSpLocks/>
          </p:cNvCxnSpPr>
          <p:nvPr/>
        </p:nvCxnSpPr>
        <p:spPr>
          <a:xfrm rot="16200000" flipH="1">
            <a:off x="9223287" y="4619265"/>
            <a:ext cx="1002753" cy="1"/>
          </a:xfrm>
          <a:prstGeom prst="bentConnector3">
            <a:avLst>
              <a:gd name="adj1" fmla="val 50000"/>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4" name="Rounded Rectangle 5">
            <a:extLst>
              <a:ext uri="{FF2B5EF4-FFF2-40B4-BE49-F238E27FC236}">
                <a16:creationId xmlns:a16="http://schemas.microsoft.com/office/drawing/2014/main" id="{F2323106-477A-6823-2908-21B6FD86AC92}"/>
              </a:ext>
              <a:ext uri="{C183D7F6-B498-43B3-948B-1728B52AA6E4}">
                <adec:decorative xmlns:adec="http://schemas.microsoft.com/office/drawing/2017/decorative" val="1"/>
              </a:ext>
            </a:extLst>
          </p:cNvPr>
          <p:cNvSpPr/>
          <p:nvPr/>
        </p:nvSpPr>
        <p:spPr bwMode="auto">
          <a:xfrm>
            <a:off x="2130703" y="1468749"/>
            <a:ext cx="3474967"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5" name="Rounded Rectangle 22">
            <a:extLst>
              <a:ext uri="{FF2B5EF4-FFF2-40B4-BE49-F238E27FC236}">
                <a16:creationId xmlns:a16="http://schemas.microsoft.com/office/drawing/2014/main" id="{E8FF74B8-D5EA-52EF-5347-A427899BD3AE}"/>
              </a:ext>
              <a:ext uri="{C183D7F6-B498-43B3-948B-1728B52AA6E4}">
                <adec:decorative xmlns:adec="http://schemas.microsoft.com/office/drawing/2017/decorative" val="1"/>
              </a:ext>
            </a:extLst>
          </p:cNvPr>
          <p:cNvSpPr/>
          <p:nvPr/>
        </p:nvSpPr>
        <p:spPr bwMode="auto">
          <a:xfrm>
            <a:off x="2350939" y="1632575"/>
            <a:ext cx="800498" cy="275588"/>
          </a:xfrm>
          <a:prstGeom prst="roundRect">
            <a:avLst>
              <a:gd name="adj" fmla="val 50000"/>
            </a:avLst>
          </a:prstGeom>
          <a:gradFill flip="none" rotWithShape="1">
            <a:gsLst>
              <a:gs pos="66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6" name="Text Placeholder 4">
            <a:extLst>
              <a:ext uri="{FF2B5EF4-FFF2-40B4-BE49-F238E27FC236}">
                <a16:creationId xmlns:a16="http://schemas.microsoft.com/office/drawing/2014/main" id="{B1D43A7F-AC45-852E-3A53-CD4F23DF3B73}"/>
              </a:ext>
              <a:ext uri="{C183D7F6-B498-43B3-948B-1728B52AA6E4}">
                <adec:decorative xmlns:adec="http://schemas.microsoft.com/office/drawing/2017/decorative" val="1"/>
              </a:ext>
            </a:extLst>
          </p:cNvPr>
          <p:cNvSpPr txBox="1">
            <a:spLocks/>
          </p:cNvSpPr>
          <p:nvPr/>
        </p:nvSpPr>
        <p:spPr>
          <a:xfrm>
            <a:off x="2425953" y="1651748"/>
            <a:ext cx="2705269" cy="483209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20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 that wasn’t picked since your most relevant results were not on top:</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3. Northwind Health Plus offers coverage for vision exams, glasses, and contact lenses, as well as dental exams, cleanings, and fillings.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 name="Rounded Rectangle 20">
            <a:extLst>
              <a:ext uri="{FF2B5EF4-FFF2-40B4-BE49-F238E27FC236}">
                <a16:creationId xmlns:a16="http://schemas.microsoft.com/office/drawing/2014/main" id="{5F0C01BF-507B-5E75-6F86-E31A946219C5}"/>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8" name="TextBox 7">
            <a:extLst>
              <a:ext uri="{FF2B5EF4-FFF2-40B4-BE49-F238E27FC236}">
                <a16:creationId xmlns:a16="http://schemas.microsoft.com/office/drawing/2014/main" id="{6115B82B-9DCB-01B0-55B6-A8FFEA257658}"/>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9" name="Rectangle: Rounded Corners 8">
            <a:extLst>
              <a:ext uri="{FF2B5EF4-FFF2-40B4-BE49-F238E27FC236}">
                <a16:creationId xmlns:a16="http://schemas.microsoft.com/office/drawing/2014/main" id="{AC190548-0A55-DECD-75D3-1594E6E3764E}"/>
              </a:ext>
              <a:ext uri="{C183D7F6-B498-43B3-948B-1728B52AA6E4}">
                <adec:decorative xmlns:adec="http://schemas.microsoft.com/office/drawing/2017/decorative" val="1"/>
              </a:ext>
            </a:extLst>
          </p:cNvPr>
          <p:cNvSpPr/>
          <p:nvPr/>
        </p:nvSpPr>
        <p:spPr bwMode="auto">
          <a:xfrm>
            <a:off x="2288570" y="1988862"/>
            <a:ext cx="3108960"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1" name="Rectangle: Rounded Corners 10">
            <a:extLst>
              <a:ext uri="{FF2B5EF4-FFF2-40B4-BE49-F238E27FC236}">
                <a16:creationId xmlns:a16="http://schemas.microsoft.com/office/drawing/2014/main" id="{5A5021D1-82D5-F376-A760-A7DAB2800E9E}"/>
              </a:ext>
              <a:ext uri="{C183D7F6-B498-43B3-948B-1728B52AA6E4}">
                <adec:decorative xmlns:adec="http://schemas.microsoft.com/office/drawing/2017/decorative" val="1"/>
              </a:ext>
            </a:extLst>
          </p:cNvPr>
          <p:cNvSpPr/>
          <p:nvPr/>
        </p:nvSpPr>
        <p:spPr bwMode="auto">
          <a:xfrm>
            <a:off x="2288570" y="3252438"/>
            <a:ext cx="3108960"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2" name="Rectangle: Rounded Corners 11">
            <a:extLst>
              <a:ext uri="{FF2B5EF4-FFF2-40B4-BE49-F238E27FC236}">
                <a16:creationId xmlns:a16="http://schemas.microsoft.com/office/drawing/2014/main" id="{45297304-C338-73E5-FDE2-FFEBC58E7971}"/>
              </a:ext>
              <a:ext uri="{C183D7F6-B498-43B3-948B-1728B52AA6E4}">
                <adec:decorative xmlns:adec="http://schemas.microsoft.com/office/drawing/2017/decorative" val="1"/>
              </a:ext>
            </a:extLst>
          </p:cNvPr>
          <p:cNvSpPr/>
          <p:nvPr/>
        </p:nvSpPr>
        <p:spPr bwMode="auto">
          <a:xfrm>
            <a:off x="2288570" y="3808490"/>
            <a:ext cx="3108960" cy="100922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4" name="Connector: Elbow 13">
            <a:extLst>
              <a:ext uri="{FF2B5EF4-FFF2-40B4-BE49-F238E27FC236}">
                <a16:creationId xmlns:a16="http://schemas.microsoft.com/office/drawing/2014/main" id="{C7101C3E-E90C-3E5E-E8E6-3DA67DCE1FD4}"/>
              </a:ext>
              <a:ext uri="{C183D7F6-B498-43B3-948B-1728B52AA6E4}">
                <adec:decorative xmlns:adec="http://schemas.microsoft.com/office/drawing/2017/decorative" val="1"/>
              </a:ext>
            </a:extLst>
          </p:cNvPr>
          <p:cNvCxnSpPr>
            <a:cxnSpLocks/>
            <a:stCxn id="13" idx="0"/>
            <a:endCxn id="9" idx="0"/>
          </p:cNvCxnSpPr>
          <p:nvPr/>
        </p:nvCxnSpPr>
        <p:spPr>
          <a:xfrm rot="16200000" flipH="1">
            <a:off x="2389129" y="534942"/>
            <a:ext cx="441049" cy="2466791"/>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B13973A1-B9E7-ECCF-3BEB-D5DDF9136BC3}"/>
              </a:ext>
              <a:ext uri="{C183D7F6-B498-43B3-948B-1728B52AA6E4}">
                <adec:decorative xmlns:adec="http://schemas.microsoft.com/office/drawing/2017/decorative" val="1"/>
              </a:ext>
            </a:extLst>
          </p:cNvPr>
          <p:cNvCxnSpPr>
            <a:cxnSpLocks/>
            <a:stCxn id="20" idx="1"/>
            <a:endCxn id="11" idx="3"/>
          </p:cNvCxnSpPr>
          <p:nvPr/>
        </p:nvCxnSpPr>
        <p:spPr>
          <a:xfrm rot="10800000">
            <a:off x="5397530" y="3481038"/>
            <a:ext cx="713854" cy="267592"/>
          </a:xfrm>
          <a:prstGeom prst="bentConnector3">
            <a:avLst>
              <a:gd name="adj1" fmla="val 50000"/>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65786F-B62F-387E-C621-9DA1DB3293F5}"/>
              </a:ext>
              <a:ext uri="{C183D7F6-B498-43B3-948B-1728B52AA6E4}">
                <adec:decorative xmlns:adec="http://schemas.microsoft.com/office/drawing/2017/decorative" val="1"/>
              </a:ext>
            </a:extLst>
          </p:cNvPr>
          <p:cNvCxnSpPr>
            <a:cxnSpLocks/>
            <a:stCxn id="17" idx="2"/>
            <a:endCxn id="12" idx="1"/>
          </p:cNvCxnSpPr>
          <p:nvPr/>
        </p:nvCxnSpPr>
        <p:spPr>
          <a:xfrm rot="5400000" flipH="1" flipV="1">
            <a:off x="1686012" y="3943782"/>
            <a:ext cx="233236" cy="971880"/>
          </a:xfrm>
          <a:prstGeom prst="bentConnector4">
            <a:avLst>
              <a:gd name="adj1" fmla="val -98012"/>
              <a:gd name="adj2" fmla="val 88267"/>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AD367606-1BC6-89B7-FC44-EEFB25432B06}"/>
              </a:ext>
              <a:ext uri="{C183D7F6-B498-43B3-948B-1728B52AA6E4}">
                <adec:decorative xmlns:adec="http://schemas.microsoft.com/office/drawing/2017/decorative" val="1"/>
              </a:ext>
            </a:extLst>
          </p:cNvPr>
          <p:cNvSpPr/>
          <p:nvPr/>
        </p:nvSpPr>
        <p:spPr bwMode="auto">
          <a:xfrm>
            <a:off x="2288570" y="4903334"/>
            <a:ext cx="3108960" cy="1317789"/>
          </a:xfrm>
          <a:prstGeom prst="roundRect">
            <a:avLst>
              <a:gd name="adj" fmla="val 4409"/>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24" name="Connector: Elbow 23">
            <a:extLst>
              <a:ext uri="{FF2B5EF4-FFF2-40B4-BE49-F238E27FC236}">
                <a16:creationId xmlns:a16="http://schemas.microsoft.com/office/drawing/2014/main" id="{E6ED8078-E9D1-8B71-E3CD-0AC33195948F}"/>
              </a:ext>
              <a:ext uri="{C183D7F6-B498-43B3-948B-1728B52AA6E4}">
                <adec:decorative xmlns:adec="http://schemas.microsoft.com/office/drawing/2017/decorative" val="1"/>
              </a:ext>
            </a:extLst>
          </p:cNvPr>
          <p:cNvCxnSpPr>
            <a:cxnSpLocks/>
            <a:stCxn id="25" idx="1"/>
          </p:cNvCxnSpPr>
          <p:nvPr/>
        </p:nvCxnSpPr>
        <p:spPr>
          <a:xfrm rot="10800000">
            <a:off x="5400049" y="5287330"/>
            <a:ext cx="692776" cy="302297"/>
          </a:xfrm>
          <a:prstGeom prst="bentConnector3">
            <a:avLst>
              <a:gd name="adj1" fmla="val 50000"/>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EEE8F59F-144E-E422-AA6B-896641B4065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88030" y="3286852"/>
            <a:ext cx="673267" cy="673267"/>
          </a:xfrm>
          <a:prstGeom prst="rect">
            <a:avLst/>
          </a:prstGeom>
          <a:effectLst>
            <a:outerShdw blurRad="63500" dist="127000" dir="2700000" algn="tl" rotWithShape="0">
              <a:srgbClr val="454142">
                <a:alpha val="20000"/>
              </a:srgbClr>
            </a:outerShdw>
          </a:effectLst>
        </p:spPr>
      </p:pic>
      <p:sp>
        <p:nvSpPr>
          <p:cNvPr id="10" name="Text Placeholder 9">
            <a:extLst>
              <a:ext uri="{FF2B5EF4-FFF2-40B4-BE49-F238E27FC236}">
                <a16:creationId xmlns:a16="http://schemas.microsoft.com/office/drawing/2014/main" id="{EECA5B77-5CBC-53D0-3E9E-6EDC7BDBD53F}"/>
              </a:ext>
            </a:extLst>
          </p:cNvPr>
          <p:cNvSpPr>
            <a:spLocks noGrp="1"/>
          </p:cNvSpPr>
          <p:nvPr>
            <p:ph type="body" sz="quarter" idx="4294967295"/>
          </p:nvPr>
        </p:nvSpPr>
        <p:spPr>
          <a:xfrm>
            <a:off x="6461688" y="750317"/>
            <a:ext cx="5359400" cy="923330"/>
          </a:xfrm>
        </p:spPr>
        <p:txBody>
          <a:bodyPr/>
          <a:lstStyle/>
          <a:p>
            <a:pPr marL="0" indent="0">
              <a:buNone/>
            </a:pPr>
            <a:r>
              <a:rPr lang="en-US" sz="2000">
                <a:solidFill>
                  <a:schemeClr val="bg1"/>
                </a:solidFill>
              </a:rPr>
              <a:t>What happens if the results the user is expecting are not returned as part of the top sources used to answer the question?</a:t>
            </a:r>
          </a:p>
        </p:txBody>
      </p:sp>
      <p:sp>
        <p:nvSpPr>
          <p:cNvPr id="13" name="TextBox 12">
            <a:extLst>
              <a:ext uri="{FF2B5EF4-FFF2-40B4-BE49-F238E27FC236}">
                <a16:creationId xmlns:a16="http://schemas.microsoft.com/office/drawing/2014/main" id="{AEFF6513-1D9C-54D3-54EB-5DC0916C4238}"/>
              </a:ext>
            </a:extLst>
          </p:cNvPr>
          <p:cNvSpPr txBox="1"/>
          <p:nvPr/>
        </p:nvSpPr>
        <p:spPr>
          <a:xfrm>
            <a:off x="572879" y="1547813"/>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7" name="TextBox 16">
            <a:extLst>
              <a:ext uri="{FF2B5EF4-FFF2-40B4-BE49-F238E27FC236}">
                <a16:creationId xmlns:a16="http://schemas.microsoft.com/office/drawing/2014/main" id="{4898E13B-E9BB-6FCD-9FB1-1BA43523FD34}"/>
              </a:ext>
            </a:extLst>
          </p:cNvPr>
          <p:cNvSpPr txBox="1"/>
          <p:nvPr/>
        </p:nvSpPr>
        <p:spPr>
          <a:xfrm>
            <a:off x="572879" y="3715343"/>
            <a:ext cx="1487622"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op sources used 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0" name="TextBox 19">
            <a:extLst>
              <a:ext uri="{FF2B5EF4-FFF2-40B4-BE49-F238E27FC236}">
                <a16:creationId xmlns:a16="http://schemas.microsoft.com/office/drawing/2014/main" id="{A1695B6D-4A8A-F22E-A019-4764FA621715}"/>
              </a:ext>
            </a:extLst>
          </p:cNvPr>
          <p:cNvSpPr txBox="1"/>
          <p:nvPr/>
        </p:nvSpPr>
        <p:spPr>
          <a:xfrm>
            <a:off x="6111384" y="3210021"/>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25" name="TextBox 24">
            <a:extLst>
              <a:ext uri="{FF2B5EF4-FFF2-40B4-BE49-F238E27FC236}">
                <a16:creationId xmlns:a16="http://schemas.microsoft.com/office/drawing/2014/main" id="{0D75FB75-DD5A-7CE9-A736-29FDD632709E}"/>
              </a:ext>
            </a:extLst>
          </p:cNvPr>
          <p:cNvSpPr txBox="1"/>
          <p:nvPr/>
        </p:nvSpPr>
        <p:spPr>
          <a:xfrm>
            <a:off x="6092825" y="4927906"/>
            <a:ext cx="1803454" cy="1323439"/>
          </a:xfrm>
          <a:prstGeom prst="rect">
            <a:avLst/>
          </a:prstGeom>
          <a:noFill/>
        </p:spPr>
        <p:txBody>
          <a:bodyPr wrap="square" lIns="91440">
            <a:spAutoFit/>
          </a:bodyPr>
          <a:lstStyle>
            <a:defPPr>
              <a:defRPr lang="en-US"/>
            </a:defPPr>
            <a:lvl1pPr defTabSz="914400">
              <a:defRPr sz="16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Relevant result that wasn’t provided as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part of the</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p sources</a:t>
            </a:r>
          </a:p>
        </p:txBody>
      </p:sp>
      <p:sp>
        <p:nvSpPr>
          <p:cNvPr id="32" name="TextBox 31">
            <a:extLst>
              <a:ext uri="{FF2B5EF4-FFF2-40B4-BE49-F238E27FC236}">
                <a16:creationId xmlns:a16="http://schemas.microsoft.com/office/drawing/2014/main" id="{7AF3A334-CEB8-850C-859D-AAD6BB20BCED}"/>
              </a:ext>
            </a:extLst>
          </p:cNvPr>
          <p:cNvSpPr txBox="1"/>
          <p:nvPr/>
        </p:nvSpPr>
        <p:spPr>
          <a:xfrm>
            <a:off x="8416309" y="5136544"/>
            <a:ext cx="2616708"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If retriever doesn’t return the most relevant results the answer is not complete</a:t>
            </a:r>
          </a:p>
        </p:txBody>
      </p:sp>
      <p:sp>
        <p:nvSpPr>
          <p:cNvPr id="2" name="Title 1">
            <a:extLst>
              <a:ext uri="{FF2B5EF4-FFF2-40B4-BE49-F238E27FC236}">
                <a16:creationId xmlns:a16="http://schemas.microsoft.com/office/drawing/2014/main" id="{A3AD2FB0-7D2F-52AE-6D93-F105DD51D57A}"/>
              </a:ext>
            </a:extLst>
          </p:cNvPr>
          <p:cNvSpPr>
            <a:spLocks noGrp="1"/>
          </p:cNvSpPr>
          <p:nvPr>
            <p:ph type="title"/>
          </p:nvPr>
        </p:nvSpPr>
        <p:spPr>
          <a:xfrm>
            <a:off x="584200" y="-680186"/>
            <a:ext cx="5508419" cy="680186"/>
          </a:xfrm>
        </p:spPr>
        <p:txBody>
          <a:bodyPr vert="horz" wrap="square" lIns="0" tIns="64008" rIns="0" bIns="0" rtlCol="0" anchor="b">
            <a:spAutoFit/>
          </a:bodyPr>
          <a:lstStyle/>
          <a:p>
            <a:r>
              <a:rPr lang="en-US" dirty="0"/>
              <a:t>Prompt </a:t>
            </a:r>
            <a:r>
              <a:rPr lang="en-US" dirty="0" err="1"/>
              <a:t>GenAI</a:t>
            </a:r>
            <a:r>
              <a:rPr lang="en-US" dirty="0"/>
              <a:t> with Incorrect Response Example</a:t>
            </a:r>
          </a:p>
        </p:txBody>
      </p:sp>
    </p:spTree>
    <p:extLst>
      <p:ext uri="{BB962C8B-B14F-4D97-AF65-F5344CB8AC3E}">
        <p14:creationId xmlns:p14="http://schemas.microsoft.com/office/powerpoint/2010/main" val="44950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42" presetClass="path" presetSubtype="0" decel="100000" fill="hold" grpId="1" nodeType="withEffect">
                                  <p:stCondLst>
                                    <p:cond delay="0"/>
                                  </p:stCondLst>
                                  <p:childTnLst>
                                    <p:animMotion origin="layout" path="M -6.25E-7 3.7037E-6 L -0.03672 3.7037E-6 " pathEditMode="relative" rAng="0" ptsTypes="AA">
                                      <p:cBhvr>
                                        <p:cTn id="12" dur="600" spd="-100000" fill="hold"/>
                                        <p:tgtEl>
                                          <p:spTgt spid="13"/>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6"/>
                                        </p:tgtEl>
                                        <p:attrNameLst>
                                          <p:attrName>ppt_x</p:attrName>
                                          <p:attrName>ppt_y</p:attrName>
                                        </p:attrNameLst>
                                      </p:cBhvr>
                                      <p:rCtr x="1836" y="0"/>
                                    </p:animMotion>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42" presetClass="path" presetSubtype="0" decel="100000" fill="hold" nodeType="withEffect">
                                  <p:stCondLst>
                                    <p:cond delay="0"/>
                                  </p:stCondLst>
                                  <p:childTnLst>
                                    <p:animMotion origin="layout" path="M 2.08333E-7 -3.7037E-7 L -0.03672 -3.7037E-7 " pathEditMode="relative" rAng="0" ptsTypes="AA">
                                      <p:cBhvr>
                                        <p:cTn id="25" dur="600" spd="-100000" fill="hold"/>
                                        <p:tgtEl>
                                          <p:spTgt spid="14"/>
                                        </p:tgtEl>
                                        <p:attrNameLst>
                                          <p:attrName>ppt_x</p:attrName>
                                          <p:attrName>ppt_y</p:attrName>
                                        </p:attrNameLst>
                                      </p:cBhvr>
                                      <p:rCtr x="-1836" y="0"/>
                                    </p:animMotion>
                                  </p:childTnLst>
                                </p:cTn>
                              </p:par>
                              <p:par>
                                <p:cTn id="26" presetID="10"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42" presetClass="path" presetSubtype="0" decel="100000" fill="hold" grpId="1" nodeType="withEffect">
                                  <p:stCondLst>
                                    <p:cond delay="0"/>
                                  </p:stCondLst>
                                  <p:childTnLst>
                                    <p:animMotion origin="layout" path="M -8.33333E-7 3.33333E-6 L -0.03672 3.33333E-6 " pathEditMode="relative" rAng="0" ptsTypes="AA">
                                      <p:cBhvr>
                                        <p:cTn id="30" dur="600" spd="-100000" fill="hold"/>
                                        <p:tgtEl>
                                          <p:spTgt spid="17"/>
                                        </p:tgtEl>
                                        <p:attrNameLst>
                                          <p:attrName>ppt_x</p:attrName>
                                          <p:attrName>ppt_y</p:attrName>
                                        </p:attrNameLst>
                                      </p:cBhvr>
                                      <p:rCtr x="-1836" y="0"/>
                                    </p:animMotion>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42" presetClass="path" presetSubtype="0" decel="100000" fill="hold" nodeType="withEffect">
                                  <p:stCondLst>
                                    <p:cond delay="0"/>
                                  </p:stCondLst>
                                  <p:childTnLst>
                                    <p:animMotion origin="layout" path="M -4.58333E-6 7.40741E-7 L -0.03671 7.40741E-7 " pathEditMode="relative" rAng="0" ptsTypes="AA">
                                      <p:cBhvr>
                                        <p:cTn id="35" dur="600" spd="-100000" fill="hold"/>
                                        <p:tgtEl>
                                          <p:spTgt spid="18"/>
                                        </p:tgtEl>
                                        <p:attrNameLst>
                                          <p:attrName>ppt_x</p:attrName>
                                          <p:attrName>ppt_y</p:attrName>
                                        </p:attrNameLst>
                                      </p:cBhvr>
                                      <p:rCtr x="-1836" y="0"/>
                                    </p:animMotion>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42" presetClass="path" presetSubtype="0" decel="100000" fill="hold" nodeType="withEffect">
                                  <p:stCondLst>
                                    <p:cond delay="0"/>
                                  </p:stCondLst>
                                  <p:childTnLst>
                                    <p:animMotion origin="layout" path="M -4.375E-6 -3.7037E-7 L 0.03672 -3.7037E-7 " pathEditMode="relative" rAng="0" ptsTypes="AA">
                                      <p:cBhvr>
                                        <p:cTn id="46" dur="600" spd="-100000" fill="hold"/>
                                        <p:tgtEl>
                                          <p:spTgt spid="24"/>
                                        </p:tgtEl>
                                        <p:attrNameLst>
                                          <p:attrName>ppt_x</p:attrName>
                                          <p:attrName>ppt_y</p:attrName>
                                        </p:attrNameLst>
                                      </p:cBhvr>
                                      <p:rCtr x="1836" y="0"/>
                                    </p:animMotion>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42" presetClass="path" presetSubtype="0" decel="100000" fill="hold" grpId="1" nodeType="withEffect">
                                  <p:stCondLst>
                                    <p:cond delay="0"/>
                                  </p:stCondLst>
                                  <p:childTnLst>
                                    <p:animMotion origin="layout" path="M 2.70833E-6 3.33333E-6 L 0.03672 3.33333E-6 " pathEditMode="relative" rAng="0" ptsTypes="AA">
                                      <p:cBhvr>
                                        <p:cTn id="51" dur="600" spd="-100000" fill="hold"/>
                                        <p:tgtEl>
                                          <p:spTgt spid="25"/>
                                        </p:tgtEl>
                                        <p:attrNameLst>
                                          <p:attrName>ppt_x</p:attrName>
                                          <p:attrName>ppt_y</p:attrName>
                                        </p:attrNameLst>
                                      </p:cBhvr>
                                      <p:rCtr x="1836" y="0"/>
                                    </p:animMotion>
                                  </p:childTnLst>
                                </p:cTn>
                              </p:par>
                              <p:par>
                                <p:cTn id="52" presetID="10" presetClass="entr" presetSubtype="0"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42" presetClass="path" presetSubtype="0" decel="100000" fill="hold" grpId="1" nodeType="withEffect">
                                  <p:stCondLst>
                                    <p:cond delay="0"/>
                                  </p:stCondLst>
                                  <p:childTnLst>
                                    <p:animMotion origin="layout" path="M 3.75E-6 -7.40741E-7 L 0.03672 -7.40741E-7 " pathEditMode="relative" rAng="0" ptsTypes="AA">
                                      <p:cBhvr>
                                        <p:cTn id="56" dur="600" spd="-100000" fill="hold"/>
                                        <p:tgtEl>
                                          <p:spTgt spid="32"/>
                                        </p:tgtEl>
                                        <p:attrNameLst>
                                          <p:attrName>ppt_x</p:attrName>
                                          <p:attrName>ppt_y</p:attrName>
                                        </p:attrNameLst>
                                      </p:cBhvr>
                                      <p:rCtr x="1836" y="0"/>
                                    </p:animMotion>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42" presetClass="path" presetSubtype="0" decel="100000" fill="hold" grpId="1" nodeType="withEffect">
                                  <p:stCondLst>
                                    <p:cond delay="0"/>
                                  </p:stCondLst>
                                  <p:childTnLst>
                                    <p:animMotion origin="layout" path="M -4.58333E-6 -2.59259E-6 L 0.03672 -2.59259E-6 " pathEditMode="relative" rAng="0" ptsTypes="AA">
                                      <p:cBhvr>
                                        <p:cTn id="61" dur="600" spd="-100000" fill="hold"/>
                                        <p:tgtEl>
                                          <p:spTgt spid="20"/>
                                        </p:tgtEl>
                                        <p:attrNameLst>
                                          <p:attrName>ppt_x</p:attrName>
                                          <p:attrName>ppt_y</p:attrName>
                                        </p:attrNameLst>
                                      </p:cBhvr>
                                      <p:rCtr x="1836" y="0"/>
                                    </p:animMotion>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42" presetClass="path" presetSubtype="0" decel="100000" fill="hold" nodeType="withEffect">
                                  <p:stCondLst>
                                    <p:cond delay="0"/>
                                  </p:stCondLst>
                                  <p:childTnLst>
                                    <p:animMotion origin="layout" path="M -3.75E-6 -0.03472 L -3.75E-6 1.85185E-6 " pathEditMode="relative" rAng="0" ptsTypes="AA">
                                      <p:cBhvr>
                                        <p:cTn id="66" dur="500" fill="hold"/>
                                        <p:tgtEl>
                                          <p:spTgt spid="2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3" grpId="0" animBg="1"/>
      <p:bldP spid="13" grpId="0"/>
      <p:bldP spid="13" grpId="1"/>
      <p:bldP spid="17" grpId="0"/>
      <p:bldP spid="17" grpId="1"/>
      <p:bldP spid="20" grpId="0"/>
      <p:bldP spid="20" grpId="1"/>
      <p:bldP spid="25" grpId="0"/>
      <p:bldP spid="25" grpId="1"/>
      <p:bldP spid="32" grpId="0"/>
      <p:bldP spid="32"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6AF3EE1-C528-A0C7-998C-93D17781D25A}"/>
              </a:ext>
              <a:ext uri="{C183D7F6-B498-43B3-948B-1728B52AA6E4}">
                <adec:decorative xmlns:adec="http://schemas.microsoft.com/office/drawing/2017/decorative" val="1"/>
              </a:ext>
            </a:extLst>
          </p:cNvPr>
          <p:cNvGrpSpPr/>
          <p:nvPr/>
        </p:nvGrpSpPr>
        <p:grpSpPr>
          <a:xfrm>
            <a:off x="3591486" y="1991187"/>
            <a:ext cx="8029013" cy="3387780"/>
            <a:chOff x="588264" y="1991187"/>
            <a:chExt cx="11032236" cy="3387780"/>
          </a:xfrm>
        </p:grpSpPr>
        <p:sp>
          <p:nvSpPr>
            <p:cNvPr id="14" name="Straight Connector 13">
              <a:extLst>
                <a:ext uri="{FF2B5EF4-FFF2-40B4-BE49-F238E27FC236}">
                  <a16:creationId xmlns:a16="http://schemas.microsoft.com/office/drawing/2014/main" id="{E47E39E4-FD27-345A-4F87-49EAC6C7EE41}"/>
                </a:ext>
                <a:ext uri="{C183D7F6-B498-43B3-948B-1728B52AA6E4}">
                  <adec:decorative xmlns:adec="http://schemas.microsoft.com/office/drawing/2017/decorative" val="1"/>
                </a:ext>
              </a:extLst>
            </p:cNvPr>
            <p:cNvSpPr/>
            <p:nvPr/>
          </p:nvSpPr>
          <p:spPr>
            <a:xfrm>
              <a:off x="588264" y="537896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Straight Connector 14">
              <a:extLst>
                <a:ext uri="{FF2B5EF4-FFF2-40B4-BE49-F238E27FC236}">
                  <a16:creationId xmlns:a16="http://schemas.microsoft.com/office/drawing/2014/main" id="{26A77142-D9E0-1F8D-781B-46512E126A4D}"/>
                </a:ext>
                <a:ext uri="{C183D7F6-B498-43B3-948B-1728B52AA6E4}">
                  <adec:decorative xmlns:adec="http://schemas.microsoft.com/office/drawing/2017/decorative" val="1"/>
                </a:ext>
              </a:extLst>
            </p:cNvPr>
            <p:cNvSpPr/>
            <p:nvPr/>
          </p:nvSpPr>
          <p:spPr>
            <a:xfrm>
              <a:off x="588264" y="481433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Straight Connector 15">
              <a:extLst>
                <a:ext uri="{FF2B5EF4-FFF2-40B4-BE49-F238E27FC236}">
                  <a16:creationId xmlns:a16="http://schemas.microsoft.com/office/drawing/2014/main" id="{FBAFA493-5921-8E3F-E2B1-65D730F0980D}"/>
                </a:ext>
                <a:ext uri="{C183D7F6-B498-43B3-948B-1728B52AA6E4}">
                  <adec:decorative xmlns:adec="http://schemas.microsoft.com/office/drawing/2017/decorative" val="1"/>
                </a:ext>
              </a:extLst>
            </p:cNvPr>
            <p:cNvSpPr/>
            <p:nvPr/>
          </p:nvSpPr>
          <p:spPr>
            <a:xfrm>
              <a:off x="588264" y="424970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Straight Connector 16">
              <a:extLst>
                <a:ext uri="{FF2B5EF4-FFF2-40B4-BE49-F238E27FC236}">
                  <a16:creationId xmlns:a16="http://schemas.microsoft.com/office/drawing/2014/main" id="{839F4277-5D55-5DFF-3B99-DCDDBBDB8EC2}"/>
                </a:ext>
                <a:ext uri="{C183D7F6-B498-43B3-948B-1728B52AA6E4}">
                  <adec:decorative xmlns:adec="http://schemas.microsoft.com/office/drawing/2017/decorative" val="1"/>
                </a:ext>
              </a:extLst>
            </p:cNvPr>
            <p:cNvSpPr/>
            <p:nvPr/>
          </p:nvSpPr>
          <p:spPr>
            <a:xfrm>
              <a:off x="588264" y="368507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Straight Connector 17">
              <a:extLst>
                <a:ext uri="{FF2B5EF4-FFF2-40B4-BE49-F238E27FC236}">
                  <a16:creationId xmlns:a16="http://schemas.microsoft.com/office/drawing/2014/main" id="{ACF097E4-E7AA-08AF-1036-EE4EB1774CF9}"/>
                </a:ext>
                <a:ext uri="{C183D7F6-B498-43B3-948B-1728B52AA6E4}">
                  <adec:decorative xmlns:adec="http://schemas.microsoft.com/office/drawing/2017/decorative" val="1"/>
                </a:ext>
              </a:extLst>
            </p:cNvPr>
            <p:cNvSpPr/>
            <p:nvPr/>
          </p:nvSpPr>
          <p:spPr>
            <a:xfrm>
              <a:off x="588264" y="312044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Straight Connector 18">
              <a:extLst>
                <a:ext uri="{FF2B5EF4-FFF2-40B4-BE49-F238E27FC236}">
                  <a16:creationId xmlns:a16="http://schemas.microsoft.com/office/drawing/2014/main" id="{D6ABA1E7-F8D2-8E2C-CAAC-E895261AAF73}"/>
                </a:ext>
                <a:ext uri="{C183D7F6-B498-43B3-948B-1728B52AA6E4}">
                  <adec:decorative xmlns:adec="http://schemas.microsoft.com/office/drawing/2017/decorative" val="1"/>
                </a:ext>
              </a:extLst>
            </p:cNvPr>
            <p:cNvSpPr/>
            <p:nvPr/>
          </p:nvSpPr>
          <p:spPr>
            <a:xfrm>
              <a:off x="588264" y="255581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Straight Connector 19">
              <a:extLst>
                <a:ext uri="{FF2B5EF4-FFF2-40B4-BE49-F238E27FC236}">
                  <a16:creationId xmlns:a16="http://schemas.microsoft.com/office/drawing/2014/main" id="{7ED5E646-0E6C-42AC-E707-DDE5D2AF0CA5}"/>
                </a:ext>
                <a:ext uri="{C183D7F6-B498-43B3-948B-1728B52AA6E4}">
                  <adec:decorative xmlns:adec="http://schemas.microsoft.com/office/drawing/2017/decorative" val="1"/>
                </a:ext>
              </a:extLst>
            </p:cNvPr>
            <p:cNvSpPr/>
            <p:nvPr/>
          </p:nvSpPr>
          <p:spPr>
            <a:xfrm>
              <a:off x="588264" y="199118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lang="en-US">
                <a:solidFill>
                  <a:schemeClr val="bg1"/>
                </a:solidFill>
              </a:rPr>
              <a:t>Evaluating RAG: </a:t>
            </a:r>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est Practices</a:t>
            </a:r>
            <a:endParaRPr lang="en-US"/>
          </a:p>
        </p:txBody>
      </p:sp>
      <p:sp>
        <p:nvSpPr>
          <p:cNvPr id="22" name="Rectangle: Rounded Corners 21">
            <a:extLst>
              <a:ext uri="{FF2B5EF4-FFF2-40B4-BE49-F238E27FC236}">
                <a16:creationId xmlns:a16="http://schemas.microsoft.com/office/drawing/2014/main" id="{2E3058D3-1E99-8C63-2CDD-2038562C3EE6}"/>
              </a:ext>
            </a:extLst>
          </p:cNvPr>
          <p:cNvSpPr/>
          <p:nvPr/>
        </p:nvSpPr>
        <p:spPr>
          <a:xfrm>
            <a:off x="588264" y="145741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Model evaluation</a:t>
            </a:r>
          </a:p>
        </p:txBody>
      </p:sp>
      <p:sp>
        <p:nvSpPr>
          <p:cNvPr id="21" name="Freeform: Shape 20">
            <a:extLst>
              <a:ext uri="{FF2B5EF4-FFF2-40B4-BE49-F238E27FC236}">
                <a16:creationId xmlns:a16="http://schemas.microsoft.com/office/drawing/2014/main" id="{82766A95-CC1B-034F-EC3E-08801577433C}"/>
              </a:ext>
            </a:extLst>
          </p:cNvPr>
          <p:cNvSpPr/>
          <p:nvPr/>
        </p:nvSpPr>
        <p:spPr>
          <a:xfrm>
            <a:off x="3456645" y="1439144"/>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valuate your model regularly using various metrics to ensure it meets your desired outcomes.</a:t>
            </a:r>
          </a:p>
        </p:txBody>
      </p:sp>
      <p:sp>
        <p:nvSpPr>
          <p:cNvPr id="24" name="Rectangle: Rounded Corners 23">
            <a:extLst>
              <a:ext uri="{FF2B5EF4-FFF2-40B4-BE49-F238E27FC236}">
                <a16:creationId xmlns:a16="http://schemas.microsoft.com/office/drawing/2014/main" id="{2D7665A8-BA66-E32C-1E16-831CECE755EC}"/>
              </a:ext>
            </a:extLst>
          </p:cNvPr>
          <p:cNvSpPr/>
          <p:nvPr/>
        </p:nvSpPr>
        <p:spPr>
          <a:xfrm>
            <a:off x="588264" y="202645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nderstand user intent</a:t>
            </a:r>
          </a:p>
        </p:txBody>
      </p:sp>
      <p:sp>
        <p:nvSpPr>
          <p:cNvPr id="23" name="Freeform: Shape 22">
            <a:extLst>
              <a:ext uri="{FF2B5EF4-FFF2-40B4-BE49-F238E27FC236}">
                <a16:creationId xmlns:a16="http://schemas.microsoft.com/office/drawing/2014/main" id="{381BF3A1-8B77-29E1-AA3A-E5CFA8E2CA1B}"/>
              </a:ext>
            </a:extLst>
          </p:cNvPr>
          <p:cNvSpPr/>
          <p:nvPr/>
        </p:nvSpPr>
        <p:spPr>
          <a:xfrm>
            <a:off x="3456645" y="2005572"/>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lassify user intents as navigational, informational, or transactional. This aids in tailoring responses effectively.</a:t>
            </a:r>
          </a:p>
        </p:txBody>
      </p:sp>
      <p:sp>
        <p:nvSpPr>
          <p:cNvPr id="26" name="Rectangle: Rounded Corners 25">
            <a:extLst>
              <a:ext uri="{FF2B5EF4-FFF2-40B4-BE49-F238E27FC236}">
                <a16:creationId xmlns:a16="http://schemas.microsoft.com/office/drawing/2014/main" id="{9124798F-5A7B-A4EE-77B2-CF062CD1D538}"/>
              </a:ext>
            </a:extLst>
          </p:cNvPr>
          <p:cNvSpPr/>
          <p:nvPr/>
        </p:nvSpPr>
        <p:spPr>
          <a:xfrm>
            <a:off x="588264" y="2595488"/>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dentify query types</a:t>
            </a:r>
          </a:p>
        </p:txBody>
      </p:sp>
      <p:sp>
        <p:nvSpPr>
          <p:cNvPr id="25" name="Freeform: Shape 24">
            <a:extLst>
              <a:ext uri="{FF2B5EF4-FFF2-40B4-BE49-F238E27FC236}">
                <a16:creationId xmlns:a16="http://schemas.microsoft.com/office/drawing/2014/main" id="{5854A4D5-9716-D353-78B3-DA4BBDAB2FA7}"/>
              </a:ext>
            </a:extLst>
          </p:cNvPr>
          <p:cNvSpPr/>
          <p:nvPr/>
        </p:nvSpPr>
        <p:spPr>
          <a:xfrm>
            <a:off x="3456645" y="2572001"/>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cept-seeking, fact-seeking, keyword, low query/doc term overlap, misspelled, long,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medium, and short queries help uncover user intent and evaluate system performance.</a:t>
            </a:r>
          </a:p>
        </p:txBody>
      </p:sp>
      <p:sp>
        <p:nvSpPr>
          <p:cNvPr id="28" name="Rectangle: Rounded Corners 27">
            <a:extLst>
              <a:ext uri="{FF2B5EF4-FFF2-40B4-BE49-F238E27FC236}">
                <a16:creationId xmlns:a16="http://schemas.microsoft.com/office/drawing/2014/main" id="{3DBBBF43-BD5A-9CE9-AD97-F31DBBE38C1E}"/>
              </a:ext>
            </a:extLst>
          </p:cNvPr>
          <p:cNvSpPr/>
          <p:nvPr/>
        </p:nvSpPr>
        <p:spPr>
          <a:xfrm>
            <a:off x="588264" y="3164526"/>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 comprehensive metrics</a:t>
            </a:r>
          </a:p>
        </p:txBody>
      </p:sp>
      <p:sp>
        <p:nvSpPr>
          <p:cNvPr id="27" name="Freeform: Shape 26">
            <a:extLst>
              <a:ext uri="{FF2B5EF4-FFF2-40B4-BE49-F238E27FC236}">
                <a16:creationId xmlns:a16="http://schemas.microsoft.com/office/drawing/2014/main" id="{8DA21A8B-763E-121B-1BC6-17B1152707B1}"/>
              </a:ext>
            </a:extLst>
          </p:cNvPr>
          <p:cNvSpPr/>
          <p:nvPr/>
        </p:nvSpPr>
        <p:spPr>
          <a:xfrm>
            <a:off x="3456645" y="3138429"/>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mploy a mix of lexical-based (Precision and Recall, F1 Score, Word Error Rate), semantic-based (Semantic Textual Similarity, Word Embedding Similarity, BLEU), and combined metrics (ROU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BERTScore</a:t>
            </a:r>
            <a:r>
              <a:rPr kumimoji="0" lang="en-US" sz="1200" b="0" i="0" u="none" strike="noStrike" kern="1200" cap="none" spc="0" normalizeH="0" baseline="0" noProof="0">
                <a:ln>
                  <a:noFill/>
                </a:ln>
                <a:solidFill>
                  <a:schemeClr val="bg1"/>
                </a:solidFill>
                <a:effectLst/>
                <a:uLnTx/>
                <a:uFillTx/>
                <a:latin typeface="Segoe Sans Text"/>
                <a:ea typeface="+mn-ea"/>
                <a:cs typeface="+mn-cs"/>
              </a:rPr>
              <a:t>) for a holistic evaluation.</a:t>
            </a:r>
          </a:p>
        </p:txBody>
      </p:sp>
      <p:sp>
        <p:nvSpPr>
          <p:cNvPr id="30" name="Rectangle: Rounded Corners 29">
            <a:extLst>
              <a:ext uri="{FF2B5EF4-FFF2-40B4-BE49-F238E27FC236}">
                <a16:creationId xmlns:a16="http://schemas.microsoft.com/office/drawing/2014/main" id="{68C8B2CA-71F6-3A58-A1CE-7A6877105FAE}"/>
              </a:ext>
            </a:extLst>
          </p:cNvPr>
          <p:cNvSpPr/>
          <p:nvPr/>
        </p:nvSpPr>
        <p:spPr>
          <a:xfrm>
            <a:off x="588264" y="3733564"/>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Keep in mind top K (@K) </a:t>
            </a:r>
            <a:b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b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trieved Chunks</a:t>
            </a:r>
          </a:p>
        </p:txBody>
      </p:sp>
      <p:sp>
        <p:nvSpPr>
          <p:cNvPr id="29" name="Freeform: Shape 28">
            <a:extLst>
              <a:ext uri="{FF2B5EF4-FFF2-40B4-BE49-F238E27FC236}">
                <a16:creationId xmlns:a16="http://schemas.microsoft.com/office/drawing/2014/main" id="{8DAFDA06-2AAE-7CE8-B356-5ABC7E0A8D14}"/>
              </a:ext>
            </a:extLst>
          </p:cNvPr>
          <p:cNvSpPr/>
          <p:nvPr/>
        </p:nvSpPr>
        <p:spPr>
          <a:xfrm>
            <a:off x="3456645" y="370485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Granular perspective on how many Chunks to retrieve.</a:t>
            </a:r>
          </a:p>
        </p:txBody>
      </p:sp>
      <p:sp>
        <p:nvSpPr>
          <p:cNvPr id="32" name="Rectangle: Rounded Corners 31">
            <a:extLst>
              <a:ext uri="{FF2B5EF4-FFF2-40B4-BE49-F238E27FC236}">
                <a16:creationId xmlns:a16="http://schemas.microsoft.com/office/drawing/2014/main" id="{525DD118-C761-E14D-9D78-1F1AA585F441}"/>
              </a:ext>
            </a:extLst>
          </p:cNvPr>
          <p:cNvSpPr/>
          <p:nvPr/>
        </p:nvSpPr>
        <p:spPr>
          <a:xfrm>
            <a:off x="588264" y="430260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mplement ranking metrics</a:t>
            </a:r>
          </a:p>
        </p:txBody>
      </p:sp>
      <p:sp>
        <p:nvSpPr>
          <p:cNvPr id="31" name="Freeform: Shape 30">
            <a:extLst>
              <a:ext uri="{FF2B5EF4-FFF2-40B4-BE49-F238E27FC236}">
                <a16:creationId xmlns:a16="http://schemas.microsoft.com/office/drawing/2014/main" id="{7CEEB39F-0FB5-6EAE-2855-6CF71A6B0B97}"/>
              </a:ext>
            </a:extLst>
          </p:cNvPr>
          <p:cNvSpPr/>
          <p:nvPr/>
        </p:nvSpPr>
        <p:spPr>
          <a:xfrm>
            <a:off x="3456645" y="427128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Utiliz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Recall@K</a:t>
            </a:r>
            <a:r>
              <a:rPr kumimoji="0" lang="en-US" sz="1200" b="0" i="0" u="none" strike="noStrike" kern="1200" cap="none" spc="0" normalizeH="0" baseline="0" noProof="0">
                <a:ln>
                  <a:noFill/>
                </a:ln>
                <a:solidFill>
                  <a:schemeClr val="bg1"/>
                </a:solidFill>
                <a:effectLst/>
                <a:uLnTx/>
                <a:uFillTx/>
                <a:latin typeface="Segoe Sans Text"/>
                <a:ea typeface="+mn-ea"/>
                <a:cs typeface="+mn-cs"/>
              </a:rPr>
              <a:t>, Mean Reciprocal Rank, Mean Avera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Precision@K</a:t>
            </a:r>
            <a:r>
              <a:rPr kumimoji="0" lang="en-US" sz="1200" b="0" i="0" u="none" strike="noStrike" kern="1200" cap="none" spc="0" normalizeH="0" baseline="0" noProof="0">
                <a:ln>
                  <a:noFill/>
                </a:ln>
                <a:solidFill>
                  <a:schemeClr val="bg1"/>
                </a:solidFill>
                <a:effectLst/>
                <a:uLnTx/>
                <a:uFillTx/>
                <a:latin typeface="Segoe Sans Text"/>
                <a:ea typeface="+mn-ea"/>
                <a:cs typeface="+mn-cs"/>
              </a:rPr>
              <a:t>, and Normalized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Discounted Cumulative Gain for assessing the ranking quality of the system.</a:t>
            </a:r>
          </a:p>
        </p:txBody>
      </p:sp>
      <p:sp>
        <p:nvSpPr>
          <p:cNvPr id="34" name="Rectangle: Rounded Corners 33">
            <a:extLst>
              <a:ext uri="{FF2B5EF4-FFF2-40B4-BE49-F238E27FC236}">
                <a16:creationId xmlns:a16="http://schemas.microsoft.com/office/drawing/2014/main" id="{33594509-61BC-2485-3542-ACFD5C4E0857}"/>
              </a:ext>
            </a:extLst>
          </p:cNvPr>
          <p:cNvSpPr/>
          <p:nvPr/>
        </p:nvSpPr>
        <p:spPr>
          <a:xfrm>
            <a:off x="588264" y="487164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gularly monitor performance</a:t>
            </a:r>
          </a:p>
        </p:txBody>
      </p:sp>
      <p:sp>
        <p:nvSpPr>
          <p:cNvPr id="33" name="Freeform: Shape 32">
            <a:extLst>
              <a:ext uri="{FF2B5EF4-FFF2-40B4-BE49-F238E27FC236}">
                <a16:creationId xmlns:a16="http://schemas.microsoft.com/office/drawing/2014/main" id="{F921723D-5808-3295-A78D-5862EB202DE3}"/>
              </a:ext>
            </a:extLst>
          </p:cNvPr>
          <p:cNvSpPr/>
          <p:nvPr/>
        </p:nvSpPr>
        <p:spPr>
          <a:xfrm>
            <a:off x="3456645" y="4837715"/>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tinuously track and optimize the system's performance using these metrics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to ensure the highest level of user satisfaction and system effectiveness.</a:t>
            </a:r>
          </a:p>
        </p:txBody>
      </p:sp>
      <p:sp>
        <p:nvSpPr>
          <p:cNvPr id="36" name="Rectangle: Rounded Corners 35">
            <a:extLst>
              <a:ext uri="{FF2B5EF4-FFF2-40B4-BE49-F238E27FC236}">
                <a16:creationId xmlns:a16="http://schemas.microsoft.com/office/drawing/2014/main" id="{A4E2C9B2-65C4-1391-8919-3051EDD2D9B3}"/>
              </a:ext>
            </a:extLst>
          </p:cNvPr>
          <p:cNvSpPr/>
          <p:nvPr/>
        </p:nvSpPr>
        <p:spPr>
          <a:xfrm>
            <a:off x="588264" y="5440679"/>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r feedback</a:t>
            </a:r>
          </a:p>
        </p:txBody>
      </p:sp>
      <p:sp>
        <p:nvSpPr>
          <p:cNvPr id="35" name="Freeform: Shape 34">
            <a:extLst>
              <a:ext uri="{FF2B5EF4-FFF2-40B4-BE49-F238E27FC236}">
                <a16:creationId xmlns:a16="http://schemas.microsoft.com/office/drawing/2014/main" id="{DCE1D4F8-2565-D43C-0874-9BE2CADBB670}"/>
              </a:ext>
            </a:extLst>
          </p:cNvPr>
          <p:cNvSpPr/>
          <p:nvPr/>
        </p:nvSpPr>
        <p:spPr>
          <a:xfrm>
            <a:off x="3456645" y="5404143"/>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Incorporate user feedback to improve system for utility.</a:t>
            </a:r>
          </a:p>
        </p:txBody>
      </p:sp>
      <p:sp>
        <p:nvSpPr>
          <p:cNvPr id="8" name="Text Placeholder 3">
            <a:extLst>
              <a:ext uri="{FF2B5EF4-FFF2-40B4-BE49-F238E27FC236}">
                <a16:creationId xmlns:a16="http://schemas.microsoft.com/office/drawing/2014/main" id="{40699EF0-F818-AEAC-D4DE-6744810E352E}"/>
              </a:ext>
            </a:extLst>
          </p:cNvPr>
          <p:cNvSpPr txBox="1">
            <a:spLocks/>
          </p:cNvSpPr>
          <p:nvPr/>
        </p:nvSpPr>
        <p:spPr>
          <a:xfrm>
            <a:off x="616571" y="6043816"/>
            <a:ext cx="10869087"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solidFill>
                  <a:schemeClr val="tx1"/>
                </a:solidFill>
                <a:latin typeface="Segoe Sans Text" pitchFamily="2" charset="0"/>
                <a:ea typeface="+mn-ea"/>
                <a:cs typeface="Segoe Sans Text" pitchFamily="2"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zure’s RAG Evaluation Tool: </a:t>
            </a:r>
            <a:r>
              <a:rPr kumimoji="0" lang="en-US" sz="1600" b="0" i="0" u="none" strike="noStrike" kern="1200" cap="none" spc="0" normalizeH="0" baseline="0" noProof="0">
                <a:ln>
                  <a:noFill/>
                </a:ln>
                <a:solidFill>
                  <a:srgbClr val="00B0F0"/>
                </a:solidFill>
                <a:effectLst/>
                <a:uLnTx/>
                <a:uFillTx/>
                <a:latin typeface="Segoe Sans Text"/>
                <a:ea typeface="+mn-ea"/>
                <a:cs typeface="Segoe Sans Text" pitchFamily="2" charset="0"/>
                <a:hlinkClick r:id="rId3">
                  <a:extLst>
                    <a:ext uri="{A12FA001-AC4F-418D-AE19-62706E023703}">
                      <ahyp:hlinkClr xmlns:ahyp="http://schemas.microsoft.com/office/drawing/2018/hyperlinkcolor" val="tx"/>
                    </a:ext>
                  </a:extLst>
                </a:hlinkClick>
              </a:rPr>
              <a:t>Azure ML Prompt Flow</a:t>
            </a: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t>
            </a:r>
          </a:p>
        </p:txBody>
      </p:sp>
    </p:spTree>
    <p:extLst>
      <p:ext uri="{BB962C8B-B14F-4D97-AF65-F5344CB8AC3E}">
        <p14:creationId xmlns:p14="http://schemas.microsoft.com/office/powerpoint/2010/main" val="229388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75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50"/>
                                        <p:tgtEl>
                                          <p:spTgt spid="22"/>
                                        </p:tgtEl>
                                      </p:cBhvr>
                                    </p:animEffect>
                                  </p:childTnLst>
                                </p:cTn>
                              </p:par>
                              <p:par>
                                <p:cTn id="11" presetID="42" presetClass="path" presetSubtype="0" decel="100000" fill="hold" grpId="1" nodeType="withEffect">
                                  <p:stCondLst>
                                    <p:cond delay="200"/>
                                  </p:stCondLst>
                                  <p:childTnLst>
                                    <p:animMotion origin="layout" path="M -0.01719 -0.00023 L -1.25E-6 1.85185E-6 " pathEditMode="relative" rAng="0" ptsTypes="AA">
                                      <p:cBhvr>
                                        <p:cTn id="12" dur="500" fill="hold"/>
                                        <p:tgtEl>
                                          <p:spTgt spid="22"/>
                                        </p:tgtEl>
                                        <p:attrNameLst>
                                          <p:attrName>ppt_x</p:attrName>
                                          <p:attrName>ppt_y</p:attrName>
                                        </p:attrNameLst>
                                      </p:cBhvr>
                                      <p:rCtr x="859" y="0"/>
                                    </p:animMotion>
                                  </p:childTnLst>
                                </p:cTn>
                              </p:par>
                              <p:par>
                                <p:cTn id="13" presetID="10" presetClass="entr" presetSubtype="0" fill="hold" grpId="0" nodeType="withEffect">
                                  <p:stCondLst>
                                    <p:cond delay="4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250"/>
                                        <p:tgtEl>
                                          <p:spTgt spid="24"/>
                                        </p:tgtEl>
                                      </p:cBhvr>
                                    </p:animEffect>
                                  </p:childTnLst>
                                </p:cTn>
                              </p:par>
                              <p:par>
                                <p:cTn id="16" presetID="42" presetClass="path" presetSubtype="0" decel="100000" fill="hold" grpId="1" nodeType="withEffect">
                                  <p:stCondLst>
                                    <p:cond delay="400"/>
                                  </p:stCondLst>
                                  <p:childTnLst>
                                    <p:animMotion origin="layout" path="M -0.01719 -0.00023 L -1.25E-6 1.85185E-6 " pathEditMode="relative" rAng="0" ptsTypes="AA">
                                      <p:cBhvr>
                                        <p:cTn id="17" dur="500" fill="hold"/>
                                        <p:tgtEl>
                                          <p:spTgt spid="24"/>
                                        </p:tgtEl>
                                        <p:attrNameLst>
                                          <p:attrName>ppt_x</p:attrName>
                                          <p:attrName>ppt_y</p:attrName>
                                        </p:attrNameLst>
                                      </p:cBhvr>
                                      <p:rCtr x="859" y="0"/>
                                    </p:animMotion>
                                  </p:childTnLst>
                                </p:cTn>
                              </p:par>
                              <p:par>
                                <p:cTn id="18" presetID="10" presetClass="entr" presetSubtype="0" fill="hold" grpId="0" nodeType="withEffect">
                                  <p:stCondLst>
                                    <p:cond delay="60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par>
                                <p:cTn id="21" presetID="42" presetClass="path" presetSubtype="0" decel="100000" fill="hold" grpId="1" nodeType="withEffect">
                                  <p:stCondLst>
                                    <p:cond delay="600"/>
                                  </p:stCondLst>
                                  <p:childTnLst>
                                    <p:animMotion origin="layout" path="M -0.01719 -0.00023 L -1.25E-6 1.85185E-6 " pathEditMode="relative" rAng="0" ptsTypes="AA">
                                      <p:cBhvr>
                                        <p:cTn id="22" dur="500" fill="hold"/>
                                        <p:tgtEl>
                                          <p:spTgt spid="26"/>
                                        </p:tgtEl>
                                        <p:attrNameLst>
                                          <p:attrName>ppt_x</p:attrName>
                                          <p:attrName>ppt_y</p:attrName>
                                        </p:attrNameLst>
                                      </p:cBhvr>
                                      <p:rCtr x="859" y="0"/>
                                    </p:animMotion>
                                  </p:childTnLst>
                                </p:cTn>
                              </p:par>
                              <p:par>
                                <p:cTn id="23" presetID="10" presetClass="entr" presetSubtype="0" fill="hold" grpId="0" nodeType="withEffect">
                                  <p:stCondLst>
                                    <p:cond delay="8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250"/>
                                        <p:tgtEl>
                                          <p:spTgt spid="28"/>
                                        </p:tgtEl>
                                      </p:cBhvr>
                                    </p:animEffect>
                                  </p:childTnLst>
                                </p:cTn>
                              </p:par>
                              <p:par>
                                <p:cTn id="26" presetID="42" presetClass="path" presetSubtype="0" decel="100000" fill="hold" grpId="1" nodeType="withEffect">
                                  <p:stCondLst>
                                    <p:cond delay="800"/>
                                  </p:stCondLst>
                                  <p:childTnLst>
                                    <p:animMotion origin="layout" path="M -0.01719 -0.00023 L -1.25E-6 1.85185E-6 " pathEditMode="relative" rAng="0" ptsTypes="AA">
                                      <p:cBhvr>
                                        <p:cTn id="27" dur="500" fill="hold"/>
                                        <p:tgtEl>
                                          <p:spTgt spid="28"/>
                                        </p:tgtEl>
                                        <p:attrNameLst>
                                          <p:attrName>ppt_x</p:attrName>
                                          <p:attrName>ppt_y</p:attrName>
                                        </p:attrNameLst>
                                      </p:cBhvr>
                                      <p:rCtr x="859" y="0"/>
                                    </p:animMotion>
                                  </p:childTnLst>
                                </p:cTn>
                              </p:par>
                              <p:par>
                                <p:cTn id="28" presetID="10" presetClass="entr" presetSubtype="0" fill="hold" grpId="0" nodeType="withEffect">
                                  <p:stCondLst>
                                    <p:cond delay="100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250"/>
                                        <p:tgtEl>
                                          <p:spTgt spid="30"/>
                                        </p:tgtEl>
                                      </p:cBhvr>
                                    </p:animEffect>
                                  </p:childTnLst>
                                </p:cTn>
                              </p:par>
                              <p:par>
                                <p:cTn id="31" presetID="42" presetClass="path" presetSubtype="0" decel="100000" fill="hold" grpId="1" nodeType="withEffect">
                                  <p:stCondLst>
                                    <p:cond delay="1000"/>
                                  </p:stCondLst>
                                  <p:childTnLst>
                                    <p:animMotion origin="layout" path="M -0.01719 -0.00023 L -1.25E-6 1.85185E-6 " pathEditMode="relative" rAng="0" ptsTypes="AA">
                                      <p:cBhvr>
                                        <p:cTn id="32" dur="500" fill="hold"/>
                                        <p:tgtEl>
                                          <p:spTgt spid="30"/>
                                        </p:tgtEl>
                                        <p:attrNameLst>
                                          <p:attrName>ppt_x</p:attrName>
                                          <p:attrName>ppt_y</p:attrName>
                                        </p:attrNameLst>
                                      </p:cBhvr>
                                      <p:rCtr x="859" y="0"/>
                                    </p:animMotion>
                                  </p:childTnLst>
                                </p:cTn>
                              </p:par>
                              <p:par>
                                <p:cTn id="33" presetID="10" presetClass="entr" presetSubtype="0" fill="hold" grpId="0" nodeType="withEffect">
                                  <p:stCondLst>
                                    <p:cond delay="12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50"/>
                                        <p:tgtEl>
                                          <p:spTgt spid="32"/>
                                        </p:tgtEl>
                                      </p:cBhvr>
                                    </p:animEffect>
                                  </p:childTnLst>
                                </p:cTn>
                              </p:par>
                              <p:par>
                                <p:cTn id="36" presetID="42" presetClass="path" presetSubtype="0" decel="100000" fill="hold" grpId="1" nodeType="withEffect">
                                  <p:stCondLst>
                                    <p:cond delay="1200"/>
                                  </p:stCondLst>
                                  <p:childTnLst>
                                    <p:animMotion origin="layout" path="M -0.01719 -0.00023 L -1.25E-6 1.85185E-6 " pathEditMode="relative" rAng="0" ptsTypes="AA">
                                      <p:cBhvr>
                                        <p:cTn id="37" dur="500" fill="hold"/>
                                        <p:tgtEl>
                                          <p:spTgt spid="32"/>
                                        </p:tgtEl>
                                        <p:attrNameLst>
                                          <p:attrName>ppt_x</p:attrName>
                                          <p:attrName>ppt_y</p:attrName>
                                        </p:attrNameLst>
                                      </p:cBhvr>
                                      <p:rCtr x="859" y="0"/>
                                    </p:animMotion>
                                  </p:childTnLst>
                                </p:cTn>
                              </p:par>
                              <p:par>
                                <p:cTn id="38" presetID="10" presetClass="entr" presetSubtype="0" fill="hold" grpId="0" nodeType="withEffect">
                                  <p:stCondLst>
                                    <p:cond delay="14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50"/>
                                        <p:tgtEl>
                                          <p:spTgt spid="34"/>
                                        </p:tgtEl>
                                      </p:cBhvr>
                                    </p:animEffect>
                                  </p:childTnLst>
                                </p:cTn>
                              </p:par>
                              <p:par>
                                <p:cTn id="41" presetID="42" presetClass="path" presetSubtype="0" decel="100000" fill="hold" grpId="1" nodeType="withEffect">
                                  <p:stCondLst>
                                    <p:cond delay="1400"/>
                                  </p:stCondLst>
                                  <p:childTnLst>
                                    <p:animMotion origin="layout" path="M -0.01719 -0.00023 L -1.25E-6 1.85185E-6 " pathEditMode="relative" rAng="0" ptsTypes="AA">
                                      <p:cBhvr>
                                        <p:cTn id="42" dur="500" fill="hold"/>
                                        <p:tgtEl>
                                          <p:spTgt spid="34"/>
                                        </p:tgtEl>
                                        <p:attrNameLst>
                                          <p:attrName>ppt_x</p:attrName>
                                          <p:attrName>ppt_y</p:attrName>
                                        </p:attrNameLst>
                                      </p:cBhvr>
                                      <p:rCtr x="859" y="0"/>
                                    </p:animMotion>
                                  </p:childTnLst>
                                </p:cTn>
                              </p:par>
                              <p:par>
                                <p:cTn id="43" presetID="10" presetClass="entr" presetSubtype="0" fill="hold" grpId="0" nodeType="withEffect">
                                  <p:stCondLst>
                                    <p:cond delay="160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250"/>
                                        <p:tgtEl>
                                          <p:spTgt spid="36"/>
                                        </p:tgtEl>
                                      </p:cBhvr>
                                    </p:animEffect>
                                  </p:childTnLst>
                                </p:cTn>
                              </p:par>
                              <p:par>
                                <p:cTn id="46" presetID="42" presetClass="path" presetSubtype="0" decel="100000" fill="hold" grpId="1" nodeType="withEffect">
                                  <p:stCondLst>
                                    <p:cond delay="1600"/>
                                  </p:stCondLst>
                                  <p:childTnLst>
                                    <p:animMotion origin="layout" path="M -0.01719 -0.00023 L -1.25E-6 1.85185E-6 " pathEditMode="relative" rAng="0" ptsTypes="AA">
                                      <p:cBhvr>
                                        <p:cTn id="47" dur="500" fill="hold"/>
                                        <p:tgtEl>
                                          <p:spTgt spid="36"/>
                                        </p:tgtEl>
                                        <p:attrNameLst>
                                          <p:attrName>ppt_x</p:attrName>
                                          <p:attrName>ppt_y</p:attrName>
                                        </p:attrNameLst>
                                      </p:cBhvr>
                                      <p:rCtr x="859" y="0"/>
                                    </p:animMotion>
                                  </p:childTnLst>
                                </p:cTn>
                              </p:par>
                              <p:par>
                                <p:cTn id="48" presetID="10" presetClass="entr" presetSubtype="0" fill="hold" grpId="0" nodeType="withEffect">
                                  <p:stCondLst>
                                    <p:cond delay="20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250"/>
                                        <p:tgtEl>
                                          <p:spTgt spid="21"/>
                                        </p:tgtEl>
                                      </p:cBhvr>
                                    </p:animEffect>
                                  </p:childTnLst>
                                </p:cTn>
                              </p:par>
                              <p:par>
                                <p:cTn id="51" presetID="42" presetClass="path" presetSubtype="0" decel="100000" fill="hold" grpId="1" nodeType="withEffect">
                                  <p:stCondLst>
                                    <p:cond delay="200"/>
                                  </p:stCondLst>
                                  <p:childTnLst>
                                    <p:animMotion origin="layout" path="M 0.01666 -0.00046 L 3.75E-6 1.85185E-6 " pathEditMode="relative" rAng="0" ptsTypes="AA">
                                      <p:cBhvr>
                                        <p:cTn id="52" dur="500" fill="hold"/>
                                        <p:tgtEl>
                                          <p:spTgt spid="21"/>
                                        </p:tgtEl>
                                        <p:attrNameLst>
                                          <p:attrName>ppt_x</p:attrName>
                                          <p:attrName>ppt_y</p:attrName>
                                        </p:attrNameLst>
                                      </p:cBhvr>
                                      <p:rCtr x="-833" y="23"/>
                                    </p:animMotion>
                                  </p:childTnLst>
                                </p:cTn>
                              </p:par>
                              <p:par>
                                <p:cTn id="53" presetID="10" presetClass="entr" presetSubtype="0" fill="hold" grpId="0" nodeType="withEffect">
                                  <p:stCondLst>
                                    <p:cond delay="40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50"/>
                                        <p:tgtEl>
                                          <p:spTgt spid="23"/>
                                        </p:tgtEl>
                                      </p:cBhvr>
                                    </p:animEffect>
                                  </p:childTnLst>
                                </p:cTn>
                              </p:par>
                              <p:par>
                                <p:cTn id="56" presetID="42" presetClass="path" presetSubtype="0" decel="100000" fill="hold" grpId="1" nodeType="withEffect">
                                  <p:stCondLst>
                                    <p:cond delay="400"/>
                                  </p:stCondLst>
                                  <p:childTnLst>
                                    <p:animMotion origin="layout" path="M 0.01666 -0.00046 L 3.75E-6 1.85185E-6 " pathEditMode="relative" rAng="0" ptsTypes="AA">
                                      <p:cBhvr>
                                        <p:cTn id="57" dur="500" fill="hold"/>
                                        <p:tgtEl>
                                          <p:spTgt spid="23"/>
                                        </p:tgtEl>
                                        <p:attrNameLst>
                                          <p:attrName>ppt_x</p:attrName>
                                          <p:attrName>ppt_y</p:attrName>
                                        </p:attrNameLst>
                                      </p:cBhvr>
                                      <p:rCtr x="-833" y="23"/>
                                    </p:animMotion>
                                  </p:childTnLst>
                                </p:cTn>
                              </p:par>
                              <p:par>
                                <p:cTn id="58" presetID="10" presetClass="entr" presetSubtype="0" fill="hold" grpId="0" nodeType="withEffect">
                                  <p:stCondLst>
                                    <p:cond delay="6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250"/>
                                        <p:tgtEl>
                                          <p:spTgt spid="25"/>
                                        </p:tgtEl>
                                      </p:cBhvr>
                                    </p:animEffect>
                                  </p:childTnLst>
                                </p:cTn>
                              </p:par>
                              <p:par>
                                <p:cTn id="61" presetID="42" presetClass="path" presetSubtype="0" decel="100000" fill="hold" grpId="1" nodeType="withEffect">
                                  <p:stCondLst>
                                    <p:cond delay="600"/>
                                  </p:stCondLst>
                                  <p:childTnLst>
                                    <p:animMotion origin="layout" path="M 0.01666 -0.00046 L 3.75E-6 1.85185E-6 " pathEditMode="relative" rAng="0" ptsTypes="AA">
                                      <p:cBhvr>
                                        <p:cTn id="62" dur="500" fill="hold"/>
                                        <p:tgtEl>
                                          <p:spTgt spid="25"/>
                                        </p:tgtEl>
                                        <p:attrNameLst>
                                          <p:attrName>ppt_x</p:attrName>
                                          <p:attrName>ppt_y</p:attrName>
                                        </p:attrNameLst>
                                      </p:cBhvr>
                                      <p:rCtr x="-833" y="23"/>
                                    </p:animMotion>
                                  </p:childTnLst>
                                </p:cTn>
                              </p:par>
                              <p:par>
                                <p:cTn id="63" presetID="10" presetClass="entr" presetSubtype="0" fill="hold" grpId="0" nodeType="withEffect">
                                  <p:stCondLst>
                                    <p:cond delay="8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250"/>
                                        <p:tgtEl>
                                          <p:spTgt spid="27"/>
                                        </p:tgtEl>
                                      </p:cBhvr>
                                    </p:animEffect>
                                  </p:childTnLst>
                                </p:cTn>
                              </p:par>
                              <p:par>
                                <p:cTn id="66" presetID="42" presetClass="path" presetSubtype="0" decel="100000" fill="hold" grpId="1" nodeType="withEffect">
                                  <p:stCondLst>
                                    <p:cond delay="800"/>
                                  </p:stCondLst>
                                  <p:childTnLst>
                                    <p:animMotion origin="layout" path="M 0.01666 -0.00046 L 3.75E-6 1.85185E-6 " pathEditMode="relative" rAng="0" ptsTypes="AA">
                                      <p:cBhvr>
                                        <p:cTn id="67" dur="500" fill="hold"/>
                                        <p:tgtEl>
                                          <p:spTgt spid="27"/>
                                        </p:tgtEl>
                                        <p:attrNameLst>
                                          <p:attrName>ppt_x</p:attrName>
                                          <p:attrName>ppt_y</p:attrName>
                                        </p:attrNameLst>
                                      </p:cBhvr>
                                      <p:rCtr x="-833" y="23"/>
                                    </p:animMotion>
                                  </p:childTnLst>
                                </p:cTn>
                              </p:par>
                              <p:par>
                                <p:cTn id="68" presetID="10" presetClass="entr" presetSubtype="0" fill="hold" grpId="0" nodeType="withEffect">
                                  <p:stCondLst>
                                    <p:cond delay="100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250"/>
                                        <p:tgtEl>
                                          <p:spTgt spid="29"/>
                                        </p:tgtEl>
                                      </p:cBhvr>
                                    </p:animEffect>
                                  </p:childTnLst>
                                </p:cTn>
                              </p:par>
                              <p:par>
                                <p:cTn id="71" presetID="42" presetClass="path" presetSubtype="0" decel="100000" fill="hold" grpId="1" nodeType="withEffect">
                                  <p:stCondLst>
                                    <p:cond delay="1000"/>
                                  </p:stCondLst>
                                  <p:childTnLst>
                                    <p:animMotion origin="layout" path="M 0.01666 -0.00046 L 3.75E-6 1.85185E-6 " pathEditMode="relative" rAng="0" ptsTypes="AA">
                                      <p:cBhvr>
                                        <p:cTn id="72" dur="500" fill="hold"/>
                                        <p:tgtEl>
                                          <p:spTgt spid="29"/>
                                        </p:tgtEl>
                                        <p:attrNameLst>
                                          <p:attrName>ppt_x</p:attrName>
                                          <p:attrName>ppt_y</p:attrName>
                                        </p:attrNameLst>
                                      </p:cBhvr>
                                      <p:rCtr x="-833" y="23"/>
                                    </p:animMotion>
                                  </p:childTnLst>
                                </p:cTn>
                              </p:par>
                              <p:par>
                                <p:cTn id="73" presetID="10" presetClass="entr" presetSubtype="0" fill="hold" grpId="0" nodeType="withEffect">
                                  <p:stCondLst>
                                    <p:cond delay="12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250"/>
                                        <p:tgtEl>
                                          <p:spTgt spid="31"/>
                                        </p:tgtEl>
                                      </p:cBhvr>
                                    </p:animEffect>
                                  </p:childTnLst>
                                </p:cTn>
                              </p:par>
                              <p:par>
                                <p:cTn id="76" presetID="42" presetClass="path" presetSubtype="0" decel="100000" fill="hold" grpId="1" nodeType="withEffect">
                                  <p:stCondLst>
                                    <p:cond delay="1200"/>
                                  </p:stCondLst>
                                  <p:childTnLst>
                                    <p:animMotion origin="layout" path="M 0.01666 -0.00046 L 3.75E-6 1.85185E-6 " pathEditMode="relative" rAng="0" ptsTypes="AA">
                                      <p:cBhvr>
                                        <p:cTn id="77" dur="500" fill="hold"/>
                                        <p:tgtEl>
                                          <p:spTgt spid="31"/>
                                        </p:tgtEl>
                                        <p:attrNameLst>
                                          <p:attrName>ppt_x</p:attrName>
                                          <p:attrName>ppt_y</p:attrName>
                                        </p:attrNameLst>
                                      </p:cBhvr>
                                      <p:rCtr x="-833" y="23"/>
                                    </p:animMotion>
                                  </p:childTnLst>
                                </p:cTn>
                              </p:par>
                              <p:par>
                                <p:cTn id="78" presetID="10" presetClass="entr" presetSubtype="0" fill="hold" grpId="0" nodeType="withEffect">
                                  <p:stCondLst>
                                    <p:cond delay="140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250"/>
                                        <p:tgtEl>
                                          <p:spTgt spid="33"/>
                                        </p:tgtEl>
                                      </p:cBhvr>
                                    </p:animEffect>
                                  </p:childTnLst>
                                </p:cTn>
                              </p:par>
                              <p:par>
                                <p:cTn id="81" presetID="42" presetClass="path" presetSubtype="0" decel="100000" fill="hold" grpId="1" nodeType="withEffect">
                                  <p:stCondLst>
                                    <p:cond delay="1400"/>
                                  </p:stCondLst>
                                  <p:childTnLst>
                                    <p:animMotion origin="layout" path="M 0.01666 -0.00046 L 3.75E-6 1.85185E-6 " pathEditMode="relative" rAng="0" ptsTypes="AA">
                                      <p:cBhvr>
                                        <p:cTn id="82" dur="500" fill="hold"/>
                                        <p:tgtEl>
                                          <p:spTgt spid="33"/>
                                        </p:tgtEl>
                                        <p:attrNameLst>
                                          <p:attrName>ppt_x</p:attrName>
                                          <p:attrName>ppt_y</p:attrName>
                                        </p:attrNameLst>
                                      </p:cBhvr>
                                      <p:rCtr x="-833" y="23"/>
                                    </p:animMotion>
                                  </p:childTnLst>
                                </p:cTn>
                              </p:par>
                              <p:par>
                                <p:cTn id="83" presetID="10" presetClass="entr" presetSubtype="0" fill="hold" grpId="0" nodeType="withEffect">
                                  <p:stCondLst>
                                    <p:cond delay="160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250"/>
                                        <p:tgtEl>
                                          <p:spTgt spid="35"/>
                                        </p:tgtEl>
                                      </p:cBhvr>
                                    </p:animEffect>
                                  </p:childTnLst>
                                </p:cTn>
                              </p:par>
                              <p:par>
                                <p:cTn id="86" presetID="42" presetClass="path" presetSubtype="0" decel="100000" fill="hold" grpId="1" nodeType="withEffect">
                                  <p:stCondLst>
                                    <p:cond delay="1600"/>
                                  </p:stCondLst>
                                  <p:childTnLst>
                                    <p:animMotion origin="layout" path="M 0.01666 -0.00046 L 3.75E-6 1.85185E-6 " pathEditMode="relative" rAng="0" ptsTypes="AA">
                                      <p:cBhvr>
                                        <p:cTn id="87" dur="500" fill="hold"/>
                                        <p:tgtEl>
                                          <p:spTgt spid="35"/>
                                        </p:tgtEl>
                                        <p:attrNameLst>
                                          <p:attrName>ppt_x</p:attrName>
                                          <p:attrName>ppt_y</p:attrName>
                                        </p:attrNameLst>
                                      </p:cBhvr>
                                      <p:rCtr x="-833" y="23"/>
                                    </p:animMotion>
                                  </p:childTnLst>
                                </p:cTn>
                              </p:par>
                              <p:par>
                                <p:cTn id="88" presetID="10" presetClass="entr" presetSubtype="0" fill="hold" grpId="0" nodeType="withEffect">
                                  <p:stCondLst>
                                    <p:cond delay="160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1" grpId="0"/>
      <p:bldP spid="21" grpId="1"/>
      <p:bldP spid="24" grpId="0" animBg="1"/>
      <p:bldP spid="24" grpId="1" animBg="1"/>
      <p:bldP spid="23" grpId="0"/>
      <p:bldP spid="23" grpId="1"/>
      <p:bldP spid="26" grpId="0" animBg="1"/>
      <p:bldP spid="26" grpId="1" animBg="1"/>
      <p:bldP spid="25" grpId="0"/>
      <p:bldP spid="25" grpId="1"/>
      <p:bldP spid="28" grpId="0" animBg="1"/>
      <p:bldP spid="28" grpId="1" animBg="1"/>
      <p:bldP spid="27" grpId="0"/>
      <p:bldP spid="27" grpId="1"/>
      <p:bldP spid="30" grpId="0" animBg="1"/>
      <p:bldP spid="30" grpId="1" animBg="1"/>
      <p:bldP spid="29" grpId="0"/>
      <p:bldP spid="29" grpId="1"/>
      <p:bldP spid="32" grpId="0" animBg="1"/>
      <p:bldP spid="32" grpId="1" animBg="1"/>
      <p:bldP spid="31" grpId="0"/>
      <p:bldP spid="31" grpId="1"/>
      <p:bldP spid="34" grpId="0" animBg="1"/>
      <p:bldP spid="34" grpId="1" animBg="1"/>
      <p:bldP spid="33" grpId="0"/>
      <p:bldP spid="33" grpId="1"/>
      <p:bldP spid="36" grpId="0" animBg="1"/>
      <p:bldP spid="36" grpId="1" animBg="1"/>
      <p:bldP spid="35" grpId="0"/>
      <p:bldP spid="35" grpId="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9CEF2B0F-2AC0-2BB9-01C7-E014220830EA}"/>
              </a:ext>
              <a:ext uri="{C183D7F6-B498-43B3-948B-1728B52AA6E4}">
                <adec:decorative xmlns:adec="http://schemas.microsoft.com/office/drawing/2017/decorative" val="1"/>
              </a:ext>
            </a:extLst>
          </p:cNvPr>
          <p:cNvSpPr>
            <a:spLocks/>
          </p:cNvSpPr>
          <p:nvPr/>
        </p:nvSpPr>
        <p:spPr bwMode="auto">
          <a:xfrm>
            <a:off x="571500" y="1122928"/>
            <a:ext cx="11049000" cy="3696425"/>
          </a:xfrm>
          <a:prstGeom prst="roundRect">
            <a:avLst>
              <a:gd name="adj" fmla="val 3013"/>
            </a:avLst>
          </a:prstGeom>
          <a:solidFill>
            <a:srgbClr val="10374E"/>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cxnSp>
        <p:nvCxnSpPr>
          <p:cNvPr id="5" name="Straight Arrow Connector 4">
            <a:extLst>
              <a:ext uri="{FF2B5EF4-FFF2-40B4-BE49-F238E27FC236}">
                <a16:creationId xmlns:a16="http://schemas.microsoft.com/office/drawing/2014/main" id="{7A9AA6F1-F517-DBA9-7B18-4C286D61F369}"/>
              </a:ext>
              <a:ext uri="{C183D7F6-B498-43B3-948B-1728B52AA6E4}">
                <adec:decorative xmlns:adec="http://schemas.microsoft.com/office/drawing/2017/decorative" val="1"/>
              </a:ext>
            </a:extLst>
          </p:cNvPr>
          <p:cNvCxnSpPr>
            <a:cxnSpLocks/>
          </p:cNvCxnSpPr>
          <p:nvPr/>
        </p:nvCxnSpPr>
        <p:spPr>
          <a:xfrm rot="10800000" flipH="1">
            <a:off x="4609164" y="2464988"/>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7AB7B54D-9A65-E3A6-4E4C-2B0C4CC17422}"/>
              </a:ext>
              <a:ext uri="{C183D7F6-B498-43B3-948B-1728B52AA6E4}">
                <adec:decorative xmlns:adec="http://schemas.microsoft.com/office/drawing/2017/decorative" val="1"/>
              </a:ext>
            </a:extLst>
          </p:cNvPr>
          <p:cNvSpPr/>
          <p:nvPr/>
        </p:nvSpPr>
        <p:spPr>
          <a:xfrm>
            <a:off x="3281925" y="1825854"/>
            <a:ext cx="270299" cy="1696371"/>
          </a:xfrm>
          <a:prstGeom prst="leftBrace">
            <a:avLst>
              <a:gd name="adj1" fmla="val 70202"/>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cxnSp>
        <p:nvCxnSpPr>
          <p:cNvPr id="9" name="Straight Arrow Connector 8">
            <a:extLst>
              <a:ext uri="{FF2B5EF4-FFF2-40B4-BE49-F238E27FC236}">
                <a16:creationId xmlns:a16="http://schemas.microsoft.com/office/drawing/2014/main" id="{884E7276-D306-0E82-FD8F-6B07F285D5F2}"/>
              </a:ext>
              <a:ext uri="{C183D7F6-B498-43B3-948B-1728B52AA6E4}">
                <adec:decorative xmlns:adec="http://schemas.microsoft.com/office/drawing/2017/decorative" val="1"/>
              </a:ext>
            </a:extLst>
          </p:cNvPr>
          <p:cNvCxnSpPr>
            <a:cxnSpLocks/>
          </p:cNvCxnSpPr>
          <p:nvPr/>
        </p:nvCxnSpPr>
        <p:spPr>
          <a:xfrm>
            <a:off x="2934853" y="2674039"/>
            <a:ext cx="304502"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7141466-5E07-7818-FB3D-215398518C7C}"/>
              </a:ext>
              <a:ext uri="{C183D7F6-B498-43B3-948B-1728B52AA6E4}">
                <adec:decorative xmlns:adec="http://schemas.microsoft.com/office/drawing/2017/decorative" val="1"/>
              </a:ext>
            </a:extLst>
          </p:cNvPr>
          <p:cNvGrpSpPr/>
          <p:nvPr/>
        </p:nvGrpSpPr>
        <p:grpSpPr>
          <a:xfrm>
            <a:off x="3546839" y="1893179"/>
            <a:ext cx="1093934" cy="1704309"/>
            <a:chOff x="4359240" y="2721000"/>
            <a:chExt cx="1043338" cy="1642648"/>
          </a:xfrm>
        </p:grpSpPr>
        <p:grpSp>
          <p:nvGrpSpPr>
            <p:cNvPr id="17" name="Group 16">
              <a:extLst>
                <a:ext uri="{FF2B5EF4-FFF2-40B4-BE49-F238E27FC236}">
                  <a16:creationId xmlns:a16="http://schemas.microsoft.com/office/drawing/2014/main" id="{705C3937-D46D-0D1F-5F5B-BDFFEA3D39EF}"/>
                </a:ext>
              </a:extLst>
            </p:cNvPr>
            <p:cNvGrpSpPr/>
            <p:nvPr/>
          </p:nvGrpSpPr>
          <p:grpSpPr>
            <a:xfrm>
              <a:off x="4359240" y="2721000"/>
              <a:ext cx="234010" cy="1503359"/>
              <a:chOff x="4359240" y="2721000"/>
              <a:chExt cx="234010" cy="1503359"/>
            </a:xfrm>
          </p:grpSpPr>
          <p:pic>
            <p:nvPicPr>
              <p:cNvPr id="23" name="Picture 22">
                <a:extLst>
                  <a:ext uri="{FF2B5EF4-FFF2-40B4-BE49-F238E27FC236}">
                    <a16:creationId xmlns:a16="http://schemas.microsoft.com/office/drawing/2014/main" id="{6A61859B-FC05-D3F8-75EC-6BE6985B35F4}"/>
                  </a:ext>
                </a:extLst>
              </p:cNvPr>
              <p:cNvPicPr>
                <a:picLocks noChangeAspect="1"/>
              </p:cNvPicPr>
              <p:nvPr/>
            </p:nvPicPr>
            <p:blipFill>
              <a:blip r:embed="rId3"/>
              <a:stretch>
                <a:fillRect/>
              </a:stretch>
            </p:blipFill>
            <p:spPr>
              <a:xfrm>
                <a:off x="4359240" y="272100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4" name="Picture 23">
                <a:extLst>
                  <a:ext uri="{FF2B5EF4-FFF2-40B4-BE49-F238E27FC236}">
                    <a16:creationId xmlns:a16="http://schemas.microsoft.com/office/drawing/2014/main" id="{8048B95E-0C67-1B39-B185-27D9D10DB06E}"/>
                  </a:ext>
                </a:extLst>
              </p:cNvPr>
              <p:cNvPicPr>
                <a:picLocks noChangeAspect="1"/>
              </p:cNvPicPr>
              <p:nvPr/>
            </p:nvPicPr>
            <p:blipFill>
              <a:blip r:embed="rId3"/>
              <a:stretch>
                <a:fillRect/>
              </a:stretch>
            </p:blipFill>
            <p:spPr>
              <a:xfrm>
                <a:off x="4359240" y="3136335"/>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5" name="Picture 24">
                <a:extLst>
                  <a:ext uri="{FF2B5EF4-FFF2-40B4-BE49-F238E27FC236}">
                    <a16:creationId xmlns:a16="http://schemas.microsoft.com/office/drawing/2014/main" id="{8051E810-3E13-243B-4F6C-EA5C88990E87}"/>
                  </a:ext>
                </a:extLst>
              </p:cNvPr>
              <p:cNvPicPr>
                <a:picLocks noChangeAspect="1"/>
              </p:cNvPicPr>
              <p:nvPr/>
            </p:nvPicPr>
            <p:blipFill>
              <a:blip r:embed="rId3"/>
              <a:stretch>
                <a:fillRect/>
              </a:stretch>
            </p:blipFill>
            <p:spPr>
              <a:xfrm>
                <a:off x="4359240" y="3533751"/>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6" name="Picture 25">
                <a:extLst>
                  <a:ext uri="{FF2B5EF4-FFF2-40B4-BE49-F238E27FC236}">
                    <a16:creationId xmlns:a16="http://schemas.microsoft.com/office/drawing/2014/main" id="{FECE152F-6FD1-2D41-8318-F0D351197281}"/>
                  </a:ext>
                </a:extLst>
              </p:cNvPr>
              <p:cNvPicPr>
                <a:picLocks noChangeAspect="1"/>
              </p:cNvPicPr>
              <p:nvPr/>
            </p:nvPicPr>
            <p:blipFill>
              <a:blip r:embed="rId3"/>
              <a:stretch>
                <a:fillRect/>
              </a:stretch>
            </p:blipFill>
            <p:spPr>
              <a:xfrm>
                <a:off x="4359240" y="394071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grpSp>
        <p:grpSp>
          <p:nvGrpSpPr>
            <p:cNvPr id="18" name="Group 17">
              <a:extLst>
                <a:ext uri="{FF2B5EF4-FFF2-40B4-BE49-F238E27FC236}">
                  <a16:creationId xmlns:a16="http://schemas.microsoft.com/office/drawing/2014/main" id="{582ACE61-C8A4-9B43-0B69-7D41771509DB}"/>
                </a:ext>
              </a:extLst>
            </p:cNvPr>
            <p:cNvGrpSpPr/>
            <p:nvPr/>
          </p:nvGrpSpPr>
          <p:grpSpPr>
            <a:xfrm>
              <a:off x="4655436" y="2738919"/>
              <a:ext cx="747142" cy="1624729"/>
              <a:chOff x="4655436" y="2738919"/>
              <a:chExt cx="747142" cy="1624729"/>
            </a:xfrm>
          </p:grpSpPr>
          <p:sp>
            <p:nvSpPr>
              <p:cNvPr id="19" name="TextBox 18">
                <a:extLst>
                  <a:ext uri="{FF2B5EF4-FFF2-40B4-BE49-F238E27FC236}">
                    <a16:creationId xmlns:a16="http://schemas.microsoft.com/office/drawing/2014/main" id="{125791E2-AFF9-B792-174C-DDF898FFD528}"/>
                  </a:ext>
                  <a:ext uri="{C183D7F6-B498-43B3-948B-1728B52AA6E4}">
                    <adec:decorative xmlns:adec="http://schemas.microsoft.com/office/drawing/2017/decorative" val="1"/>
                  </a:ext>
                </a:extLst>
              </p:cNvPr>
              <p:cNvSpPr txBox="1"/>
              <p:nvPr/>
            </p:nvSpPr>
            <p:spPr>
              <a:xfrm>
                <a:off x="4655436" y="2738919"/>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0" name="TextBox 19">
                <a:extLst>
                  <a:ext uri="{FF2B5EF4-FFF2-40B4-BE49-F238E27FC236}">
                    <a16:creationId xmlns:a16="http://schemas.microsoft.com/office/drawing/2014/main" id="{ECEFE8C9-0F26-9FA1-4F50-7C57BD010361}"/>
                  </a:ext>
                  <a:ext uri="{C183D7F6-B498-43B3-948B-1728B52AA6E4}">
                    <adec:decorative xmlns:adec="http://schemas.microsoft.com/office/drawing/2017/decorative" val="1"/>
                  </a:ext>
                </a:extLst>
              </p:cNvPr>
              <p:cNvSpPr txBox="1"/>
              <p:nvPr/>
            </p:nvSpPr>
            <p:spPr>
              <a:xfrm>
                <a:off x="4655436" y="3136335"/>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1" name="TextBox 20">
                <a:extLst>
                  <a:ext uri="{FF2B5EF4-FFF2-40B4-BE49-F238E27FC236}">
                    <a16:creationId xmlns:a16="http://schemas.microsoft.com/office/drawing/2014/main" id="{EE1853A2-BC99-3C9C-C205-660822A0FFC0}"/>
                  </a:ext>
                  <a:ext uri="{C183D7F6-B498-43B3-948B-1728B52AA6E4}">
                    <adec:decorative xmlns:adec="http://schemas.microsoft.com/office/drawing/2017/decorative" val="1"/>
                  </a:ext>
                </a:extLst>
              </p:cNvPr>
              <p:cNvSpPr txBox="1"/>
              <p:nvPr/>
            </p:nvSpPr>
            <p:spPr>
              <a:xfrm>
                <a:off x="4655436" y="3543294"/>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2" name="TextBox 21">
                <a:extLst>
                  <a:ext uri="{FF2B5EF4-FFF2-40B4-BE49-F238E27FC236}">
                    <a16:creationId xmlns:a16="http://schemas.microsoft.com/office/drawing/2014/main" id="{37CEB1C1-89F7-2C2D-4E33-AC70434406BB}"/>
                  </a:ext>
                  <a:ext uri="{C183D7F6-B498-43B3-948B-1728B52AA6E4}">
                    <adec:decorative xmlns:adec="http://schemas.microsoft.com/office/drawing/2017/decorative" val="1"/>
                  </a:ext>
                </a:extLst>
              </p:cNvPr>
              <p:cNvSpPr txBox="1"/>
              <p:nvPr/>
            </p:nvSpPr>
            <p:spPr>
              <a:xfrm>
                <a:off x="4655436" y="3963538"/>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grpSp>
      </p:grpSp>
      <p:grpSp>
        <p:nvGrpSpPr>
          <p:cNvPr id="31" name="Group 30">
            <a:extLst>
              <a:ext uri="{FF2B5EF4-FFF2-40B4-BE49-F238E27FC236}">
                <a16:creationId xmlns:a16="http://schemas.microsoft.com/office/drawing/2014/main" id="{D27C7CCE-4116-8B99-3400-664EF4FE129E}"/>
              </a:ext>
              <a:ext uri="{C183D7F6-B498-43B3-948B-1728B52AA6E4}">
                <adec:decorative xmlns:adec="http://schemas.microsoft.com/office/drawing/2017/decorative" val="1"/>
              </a:ext>
            </a:extLst>
          </p:cNvPr>
          <p:cNvGrpSpPr/>
          <p:nvPr/>
        </p:nvGrpSpPr>
        <p:grpSpPr>
          <a:xfrm>
            <a:off x="10768691" y="1928519"/>
            <a:ext cx="493324" cy="374256"/>
            <a:chOff x="4764224" y="2905396"/>
            <a:chExt cx="614227" cy="470896"/>
          </a:xfrm>
        </p:grpSpPr>
        <p:grpSp>
          <p:nvGrpSpPr>
            <p:cNvPr id="35" name="Group 34">
              <a:extLst>
                <a:ext uri="{FF2B5EF4-FFF2-40B4-BE49-F238E27FC236}">
                  <a16:creationId xmlns:a16="http://schemas.microsoft.com/office/drawing/2014/main" id="{9AE049FB-2925-B1EF-7B0D-30FF15D30EDE}"/>
                </a:ext>
              </a:extLst>
            </p:cNvPr>
            <p:cNvGrpSpPr/>
            <p:nvPr/>
          </p:nvGrpSpPr>
          <p:grpSpPr>
            <a:xfrm>
              <a:off x="4764224" y="2988149"/>
              <a:ext cx="347088" cy="388143"/>
              <a:chOff x="1175042" y="1972326"/>
              <a:chExt cx="147106" cy="164506"/>
            </a:xfrm>
            <a:solidFill>
              <a:srgbClr val="409AE1"/>
            </a:solidFill>
          </p:grpSpPr>
          <p:sp>
            <p:nvSpPr>
              <p:cNvPr id="40" name="Freeform 5">
                <a:extLst>
                  <a:ext uri="{FF2B5EF4-FFF2-40B4-BE49-F238E27FC236}">
                    <a16:creationId xmlns:a16="http://schemas.microsoft.com/office/drawing/2014/main" id="{4D472F4D-1AF4-8F4C-ADAD-965911DB9EF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41" name="Oval 40">
                <a:extLst>
                  <a:ext uri="{FF2B5EF4-FFF2-40B4-BE49-F238E27FC236}">
                    <a16:creationId xmlns:a16="http://schemas.microsoft.com/office/drawing/2014/main" id="{CC599C7A-44BB-206B-12E5-371A0F62B95D}"/>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6" name="Group 35">
              <a:extLst>
                <a:ext uri="{FF2B5EF4-FFF2-40B4-BE49-F238E27FC236}">
                  <a16:creationId xmlns:a16="http://schemas.microsoft.com/office/drawing/2014/main" id="{A17E7A13-DF78-DC9A-BB5D-E0F37218710F}"/>
                </a:ext>
              </a:extLst>
            </p:cNvPr>
            <p:cNvGrpSpPr/>
            <p:nvPr/>
          </p:nvGrpSpPr>
          <p:grpSpPr>
            <a:xfrm>
              <a:off x="5031363" y="2905396"/>
              <a:ext cx="347088" cy="388143"/>
              <a:chOff x="1175042" y="1972326"/>
              <a:chExt cx="147106" cy="164506"/>
            </a:xfrm>
          </p:grpSpPr>
          <p:sp>
            <p:nvSpPr>
              <p:cNvPr id="38" name="Freeform 5">
                <a:extLst>
                  <a:ext uri="{FF2B5EF4-FFF2-40B4-BE49-F238E27FC236}">
                    <a16:creationId xmlns:a16="http://schemas.microsoft.com/office/drawing/2014/main" id="{FB209EC2-8CE1-C073-3713-57409A9E749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39" name="Oval 38">
                <a:extLst>
                  <a:ext uri="{FF2B5EF4-FFF2-40B4-BE49-F238E27FC236}">
                    <a16:creationId xmlns:a16="http://schemas.microsoft.com/office/drawing/2014/main" id="{2CDADA7D-472D-2C24-4134-B0B82ECFA07B}"/>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sp>
          <p:nvSpPr>
            <p:cNvPr id="37" name="Freeform 28">
              <a:extLst>
                <a:ext uri="{FF2B5EF4-FFF2-40B4-BE49-F238E27FC236}">
                  <a16:creationId xmlns:a16="http://schemas.microsoft.com/office/drawing/2014/main" id="{C3B1CC26-50A0-18FE-7FBA-36A48E6BAD18}"/>
                </a:ext>
                <a:ext uri="{C183D7F6-B498-43B3-948B-1728B52AA6E4}">
                  <adec:decorative xmlns:adec="http://schemas.microsoft.com/office/drawing/2017/decorative" val="1"/>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4CB1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2" name="Group 31">
            <a:extLst>
              <a:ext uri="{FF2B5EF4-FFF2-40B4-BE49-F238E27FC236}">
                <a16:creationId xmlns:a16="http://schemas.microsoft.com/office/drawing/2014/main" id="{974C3285-84B8-518A-FF90-1C66B7E64CD5}"/>
              </a:ext>
              <a:ext uri="{C183D7F6-B498-43B3-948B-1728B52AA6E4}">
                <adec:decorative xmlns:adec="http://schemas.microsoft.com/office/drawing/2017/decorative" val="1"/>
              </a:ext>
            </a:extLst>
          </p:cNvPr>
          <p:cNvGrpSpPr/>
          <p:nvPr/>
        </p:nvGrpSpPr>
        <p:grpSpPr>
          <a:xfrm>
            <a:off x="10692740" y="1680975"/>
            <a:ext cx="316812" cy="282822"/>
            <a:chOff x="4764983" y="2720537"/>
            <a:chExt cx="324620" cy="292851"/>
          </a:xfrm>
        </p:grpSpPr>
        <p:sp>
          <p:nvSpPr>
            <p:cNvPr id="33" name="Rectangle: Rounded Corners 32">
              <a:extLst>
                <a:ext uri="{FF2B5EF4-FFF2-40B4-BE49-F238E27FC236}">
                  <a16:creationId xmlns:a16="http://schemas.microsoft.com/office/drawing/2014/main" id="{F2C6C441-17C5-8E95-0E61-E6B08B1086D2}"/>
                </a:ext>
                <a:ext uri="{C183D7F6-B498-43B3-948B-1728B52AA6E4}">
                  <adec:decorative xmlns:adec="http://schemas.microsoft.com/office/drawing/2017/decorative" val="1"/>
                </a:ext>
              </a:extLst>
            </p:cNvPr>
            <p:cNvSpPr/>
            <p:nvPr/>
          </p:nvSpPr>
          <p:spPr bwMode="auto">
            <a:xfrm>
              <a:off x="4764983" y="2720537"/>
              <a:ext cx="324620" cy="238440"/>
            </a:xfrm>
            <a:prstGeom prst="roundRect">
              <a:avLst>
                <a:gd name="adj" fmla="val 23959"/>
              </a:avLst>
            </a:pr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sp>
          <p:nvSpPr>
            <p:cNvPr id="34" name="Rectangle 128">
              <a:extLst>
                <a:ext uri="{FF2B5EF4-FFF2-40B4-BE49-F238E27FC236}">
                  <a16:creationId xmlns:a16="http://schemas.microsoft.com/office/drawing/2014/main" id="{8B9D9DC6-8F7D-8859-189D-A9275D4C9C48}"/>
                </a:ext>
                <a:ext uri="{C183D7F6-B498-43B3-948B-1728B52AA6E4}">
                  <adec:decorative xmlns:adec="http://schemas.microsoft.com/office/drawing/2017/decorative" val="1"/>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grpSp>
      <p:sp>
        <p:nvSpPr>
          <p:cNvPr id="29" name="TextBox 28">
            <a:extLst>
              <a:ext uri="{FF2B5EF4-FFF2-40B4-BE49-F238E27FC236}">
                <a16:creationId xmlns:a16="http://schemas.microsoft.com/office/drawing/2014/main" id="{02395585-8B55-B4A8-C198-639C7713C3BB}"/>
              </a:ext>
              <a:ext uri="{C183D7F6-B498-43B3-948B-1728B52AA6E4}">
                <adec:decorative xmlns:adec="http://schemas.microsoft.com/office/drawing/2017/decorative" val="1"/>
              </a:ext>
            </a:extLst>
          </p:cNvPr>
          <p:cNvSpPr txBox="1"/>
          <p:nvPr/>
        </p:nvSpPr>
        <p:spPr>
          <a:xfrm>
            <a:off x="10572900" y="2378624"/>
            <a:ext cx="808235"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pplication</a:t>
            </a:r>
          </a:p>
        </p:txBody>
      </p:sp>
      <p:sp>
        <p:nvSpPr>
          <p:cNvPr id="30" name="TextBox 29">
            <a:extLst>
              <a:ext uri="{FF2B5EF4-FFF2-40B4-BE49-F238E27FC236}">
                <a16:creationId xmlns:a16="http://schemas.microsoft.com/office/drawing/2014/main" id="{4A5CB12F-6AA8-6B24-943C-2C8337ECF12D}"/>
              </a:ext>
            </a:extLst>
          </p:cNvPr>
          <p:cNvSpPr txBox="1"/>
          <p:nvPr/>
        </p:nvSpPr>
        <p:spPr>
          <a:xfrm>
            <a:off x="10647001" y="1546279"/>
            <a:ext cx="316812" cy="507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Sans Text"/>
                <a:ea typeface="+mn-ea"/>
                <a:cs typeface="+mn-cs"/>
              </a:rPr>
              <a:t>?</a:t>
            </a:r>
          </a:p>
        </p:txBody>
      </p:sp>
      <p:sp>
        <p:nvSpPr>
          <p:cNvPr id="45" name="TextBox 44">
            <a:extLst>
              <a:ext uri="{FF2B5EF4-FFF2-40B4-BE49-F238E27FC236}">
                <a16:creationId xmlns:a16="http://schemas.microsoft.com/office/drawing/2014/main" id="{A7F46650-6F4C-4F83-C339-DBB9A0885F43}"/>
              </a:ext>
              <a:ext uri="{C183D7F6-B498-43B3-948B-1728B52AA6E4}">
                <adec:decorative xmlns:adec="http://schemas.microsoft.com/office/drawing/2017/decorative" val="1"/>
              </a:ext>
            </a:extLst>
          </p:cNvPr>
          <p:cNvSpPr txBox="1"/>
          <p:nvPr/>
        </p:nvSpPr>
        <p:spPr>
          <a:xfrm>
            <a:off x="6700917" y="2840693"/>
            <a:ext cx="1276311"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N-relevant sections</a:t>
            </a:r>
          </a:p>
        </p:txBody>
      </p:sp>
      <p:pic>
        <p:nvPicPr>
          <p:cNvPr id="46" name="Picture 45">
            <a:extLst>
              <a:ext uri="{FF2B5EF4-FFF2-40B4-BE49-F238E27FC236}">
                <a16:creationId xmlns:a16="http://schemas.microsoft.com/office/drawing/2014/main" id="{D12F8D04-29BC-034D-8F60-CCA26AD179F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927723" y="3289386"/>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7" name="Picture 46">
            <a:extLst>
              <a:ext uri="{FF2B5EF4-FFF2-40B4-BE49-F238E27FC236}">
                <a16:creationId xmlns:a16="http://schemas.microsoft.com/office/drawing/2014/main" id="{CF586A42-4E40-F75F-D44B-18E8F66BB1A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53154" y="3292178"/>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8" name="Picture 47">
            <a:extLst>
              <a:ext uri="{FF2B5EF4-FFF2-40B4-BE49-F238E27FC236}">
                <a16:creationId xmlns:a16="http://schemas.microsoft.com/office/drawing/2014/main" id="{E28BDCC0-AB1B-220B-70AE-52B407B259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90451" y="3297381"/>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50" name="TextBox 49">
            <a:extLst>
              <a:ext uri="{FF2B5EF4-FFF2-40B4-BE49-F238E27FC236}">
                <a16:creationId xmlns:a16="http://schemas.microsoft.com/office/drawing/2014/main" id="{4FD58802-012F-AC89-C5E2-67A54E8504D6}"/>
              </a:ext>
              <a:ext uri="{C183D7F6-B498-43B3-948B-1728B52AA6E4}">
                <adec:decorative xmlns:adec="http://schemas.microsoft.com/office/drawing/2017/decorative" val="1"/>
              </a:ext>
            </a:extLst>
          </p:cNvPr>
          <p:cNvSpPr txBox="1"/>
          <p:nvPr/>
        </p:nvSpPr>
        <p:spPr>
          <a:xfrm>
            <a:off x="7909561" y="3509175"/>
            <a:ext cx="784189"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Prompting</a:t>
            </a:r>
          </a:p>
        </p:txBody>
      </p:sp>
      <p:sp>
        <p:nvSpPr>
          <p:cNvPr id="54" name="Rectangle 53">
            <a:extLst>
              <a:ext uri="{FF2B5EF4-FFF2-40B4-BE49-F238E27FC236}">
                <a16:creationId xmlns:a16="http://schemas.microsoft.com/office/drawing/2014/main" id="{742B13A1-5F07-8B7A-2020-68847B1726AA}"/>
              </a:ext>
            </a:extLst>
          </p:cNvPr>
          <p:cNvSpPr/>
          <p:nvPr/>
        </p:nvSpPr>
        <p:spPr bwMode="auto">
          <a:xfrm>
            <a:off x="5738519" y="2633386"/>
            <a:ext cx="662361"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dex</a:t>
            </a:r>
          </a:p>
        </p:txBody>
      </p:sp>
      <p:sp>
        <p:nvSpPr>
          <p:cNvPr id="61" name="TextBox 60">
            <a:extLst>
              <a:ext uri="{FF2B5EF4-FFF2-40B4-BE49-F238E27FC236}">
                <a16:creationId xmlns:a16="http://schemas.microsoft.com/office/drawing/2014/main" id="{4CD72AC8-F47A-207C-A215-52508F49809B}"/>
              </a:ext>
              <a:ext uri="{C183D7F6-B498-43B3-948B-1728B52AA6E4}">
                <adec:decorative xmlns:adec="http://schemas.microsoft.com/office/drawing/2017/decorative" val="1"/>
              </a:ext>
            </a:extLst>
          </p:cNvPr>
          <p:cNvSpPr txBox="1"/>
          <p:nvPr/>
        </p:nvSpPr>
        <p:spPr>
          <a:xfrm>
            <a:off x="6416941" y="1652870"/>
            <a:ext cx="1853700" cy="734458"/>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 query/questions</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cluding filters, facets,</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coring profiles, etc.)</a:t>
            </a:r>
          </a:p>
        </p:txBody>
      </p:sp>
      <p:cxnSp>
        <p:nvCxnSpPr>
          <p:cNvPr id="65" name="Straight Arrow Connector 64">
            <a:extLst>
              <a:ext uri="{FF2B5EF4-FFF2-40B4-BE49-F238E27FC236}">
                <a16:creationId xmlns:a16="http://schemas.microsoft.com/office/drawing/2014/main" id="{316AF38C-0CB6-8BB3-2EF2-9F6F7CCC9DA7}"/>
              </a:ext>
              <a:ext uri="{C183D7F6-B498-43B3-948B-1728B52AA6E4}">
                <adec:decorative xmlns:adec="http://schemas.microsoft.com/office/drawing/2017/decorative" val="1"/>
              </a:ext>
            </a:extLst>
          </p:cNvPr>
          <p:cNvCxnSpPr>
            <a:cxnSpLocks/>
          </p:cNvCxnSpPr>
          <p:nvPr/>
        </p:nvCxnSpPr>
        <p:spPr>
          <a:xfrm>
            <a:off x="6389193" y="2674039"/>
            <a:ext cx="2003773"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405941C-F291-AFD4-FDF8-6303F2F02A41}"/>
              </a:ext>
              <a:ext uri="{C183D7F6-B498-43B3-948B-1728B52AA6E4}">
                <adec:decorative xmlns:adec="http://schemas.microsoft.com/office/drawing/2017/decorative" val="1"/>
              </a:ext>
            </a:extLst>
          </p:cNvPr>
          <p:cNvSpPr txBox="1"/>
          <p:nvPr/>
        </p:nvSpPr>
        <p:spPr>
          <a:xfrm>
            <a:off x="1810326" y="2742181"/>
            <a:ext cx="1383712"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Chunking </a:t>
            </a:r>
          </a:p>
        </p:txBody>
      </p:sp>
      <p:pic>
        <p:nvPicPr>
          <p:cNvPr id="72" name="Picture 71">
            <a:extLst>
              <a:ext uri="{FF2B5EF4-FFF2-40B4-BE49-F238E27FC236}">
                <a16:creationId xmlns:a16="http://schemas.microsoft.com/office/drawing/2014/main" id="{74500CB8-ABAE-2A8E-43B2-FECFC8A62A1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6694" y="3800994"/>
            <a:ext cx="1091075" cy="63534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73" name="TextBox 72">
            <a:extLst>
              <a:ext uri="{FF2B5EF4-FFF2-40B4-BE49-F238E27FC236}">
                <a16:creationId xmlns:a16="http://schemas.microsoft.com/office/drawing/2014/main" id="{BCD79C30-9630-3A5F-546D-A8D7AF3347AC}"/>
              </a:ext>
              <a:ext uri="{C183D7F6-B498-43B3-948B-1728B52AA6E4}">
                <adec:decorative xmlns:adec="http://schemas.microsoft.com/office/drawing/2017/decorative" val="1"/>
              </a:ext>
            </a:extLst>
          </p:cNvPr>
          <p:cNvSpPr txBox="1"/>
          <p:nvPr/>
        </p:nvSpPr>
        <p:spPr>
          <a:xfrm>
            <a:off x="1546793" y="4404224"/>
            <a:ext cx="1972014"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 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ayout model</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77" name="TextBox 76">
            <a:extLst>
              <a:ext uri="{FF2B5EF4-FFF2-40B4-BE49-F238E27FC236}">
                <a16:creationId xmlns:a16="http://schemas.microsoft.com/office/drawing/2014/main" id="{447BE8FB-D679-D485-0AA6-80F5A5CB7FF5}"/>
              </a:ext>
              <a:ext uri="{C183D7F6-B498-43B3-948B-1728B52AA6E4}">
                <adec:decorative xmlns:adec="http://schemas.microsoft.com/office/drawing/2017/decorative" val="1"/>
              </a:ext>
            </a:extLst>
          </p:cNvPr>
          <p:cNvSpPr txBox="1"/>
          <p:nvPr/>
        </p:nvSpPr>
        <p:spPr>
          <a:xfrm>
            <a:off x="764654" y="4194713"/>
            <a:ext cx="809837"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a:t>
            </a:r>
            <a:b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ibrary</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78" name="Picture 77">
            <a:extLst>
              <a:ext uri="{FF2B5EF4-FFF2-40B4-BE49-F238E27FC236}">
                <a16:creationId xmlns:a16="http://schemas.microsoft.com/office/drawing/2014/main" id="{03DB789C-0690-4866-E6D9-CE77745CDCF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7719" y="3597070"/>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76" name="Straight Arrow Connector 75">
            <a:extLst>
              <a:ext uri="{FF2B5EF4-FFF2-40B4-BE49-F238E27FC236}">
                <a16:creationId xmlns:a16="http://schemas.microsoft.com/office/drawing/2014/main" id="{CD74BB0D-085E-FD6B-98C4-A025C288763B}"/>
              </a:ext>
              <a:ext uri="{C183D7F6-B498-43B3-948B-1728B52AA6E4}">
                <adec:decorative xmlns:adec="http://schemas.microsoft.com/office/drawing/2017/decorative" val="1"/>
              </a:ext>
            </a:extLst>
          </p:cNvPr>
          <p:cNvCxnSpPr>
            <a:cxnSpLocks/>
          </p:cNvCxnSpPr>
          <p:nvPr/>
        </p:nvCxnSpPr>
        <p:spPr>
          <a:xfrm flipV="1">
            <a:off x="1085355" y="3084277"/>
            <a:ext cx="679656" cy="36869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B15BAE1-B63A-33A9-E683-AD1B6443A405}"/>
              </a:ext>
            </a:extLst>
          </p:cNvPr>
          <p:cNvSpPr txBox="1"/>
          <p:nvPr/>
        </p:nvSpPr>
        <p:spPr>
          <a:xfrm>
            <a:off x="8184088" y="4510194"/>
            <a:ext cx="140775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OpenAI Service</a:t>
            </a:r>
          </a:p>
        </p:txBody>
      </p:sp>
      <p:sp>
        <p:nvSpPr>
          <p:cNvPr id="81" name="Rectangle: Rounded Corners 5">
            <a:extLst>
              <a:ext uri="{FF2B5EF4-FFF2-40B4-BE49-F238E27FC236}">
                <a16:creationId xmlns:a16="http://schemas.microsoft.com/office/drawing/2014/main" id="{F3375F32-D789-84B9-B3D9-E6DDABE4489F}"/>
              </a:ext>
            </a:extLst>
          </p:cNvPr>
          <p:cNvSpPr>
            <a:spLocks/>
          </p:cNvSpPr>
          <p:nvPr/>
        </p:nvSpPr>
        <p:spPr bwMode="auto">
          <a:xfrm>
            <a:off x="758201" y="2658722"/>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sp>
        <p:nvSpPr>
          <p:cNvPr id="95" name="Rectangle: Rounded Corners 5">
            <a:extLst>
              <a:ext uri="{FF2B5EF4-FFF2-40B4-BE49-F238E27FC236}">
                <a16:creationId xmlns:a16="http://schemas.microsoft.com/office/drawing/2014/main" id="{DE1953AB-A290-D792-5FE1-731DF1EBC0F5}"/>
              </a:ext>
            </a:extLst>
          </p:cNvPr>
          <p:cNvSpPr>
            <a:spLocks/>
          </p:cNvSpPr>
          <p:nvPr/>
        </p:nvSpPr>
        <p:spPr bwMode="auto">
          <a:xfrm>
            <a:off x="10851145" y="2877927"/>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sp>
        <p:nvSpPr>
          <p:cNvPr id="110" name="Left Brace 109">
            <a:extLst>
              <a:ext uri="{FF2B5EF4-FFF2-40B4-BE49-F238E27FC236}">
                <a16:creationId xmlns:a16="http://schemas.microsoft.com/office/drawing/2014/main" id="{042CEFD3-C16C-8BF3-764B-69E1E1F9D274}"/>
              </a:ext>
              <a:ext uri="{C183D7F6-B498-43B3-948B-1728B52AA6E4}">
                <adec:decorative xmlns:adec="http://schemas.microsoft.com/office/drawing/2017/decorative" val="1"/>
              </a:ext>
            </a:extLst>
          </p:cNvPr>
          <p:cNvSpPr/>
          <p:nvPr/>
        </p:nvSpPr>
        <p:spPr>
          <a:xfrm rot="10800000">
            <a:off x="5008719" y="1825854"/>
            <a:ext cx="270299" cy="1696371"/>
          </a:xfrm>
          <a:prstGeom prst="leftBrace">
            <a:avLst>
              <a:gd name="adj1" fmla="val 83749"/>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sp>
        <p:nvSpPr>
          <p:cNvPr id="114" name="TextBox 113">
            <a:extLst>
              <a:ext uri="{FF2B5EF4-FFF2-40B4-BE49-F238E27FC236}">
                <a16:creationId xmlns:a16="http://schemas.microsoft.com/office/drawing/2014/main" id="{D5FD5CDB-B606-E07C-01B6-2CD34D4A1A8F}"/>
              </a:ext>
              <a:ext uri="{C183D7F6-B498-43B3-948B-1728B52AA6E4}">
                <adec:decorative xmlns:adec="http://schemas.microsoft.com/office/drawing/2017/decorative" val="1"/>
              </a:ext>
            </a:extLst>
          </p:cNvPr>
          <p:cNvSpPr txBox="1"/>
          <p:nvPr/>
        </p:nvSpPr>
        <p:spPr>
          <a:xfrm>
            <a:off x="660163" y="2054014"/>
            <a:ext cx="102143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xpert systems</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115" name="Picture 114">
            <a:extLst>
              <a:ext uri="{FF2B5EF4-FFF2-40B4-BE49-F238E27FC236}">
                <a16:creationId xmlns:a16="http://schemas.microsoft.com/office/drawing/2014/main" id="{5C2448BB-CAAD-72B5-77A6-C946E49EC47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9026" y="1441918"/>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13" name="Straight Arrow Connector 112">
            <a:extLst>
              <a:ext uri="{FF2B5EF4-FFF2-40B4-BE49-F238E27FC236}">
                <a16:creationId xmlns:a16="http://schemas.microsoft.com/office/drawing/2014/main" id="{B6B7DBB8-6867-16D3-F26E-C2DD3F9927CE}"/>
              </a:ext>
              <a:ext uri="{C183D7F6-B498-43B3-948B-1728B52AA6E4}">
                <adec:decorative xmlns:adec="http://schemas.microsoft.com/office/drawing/2017/decorative" val="1"/>
              </a:ext>
            </a:extLst>
          </p:cNvPr>
          <p:cNvCxnSpPr>
            <a:cxnSpLocks/>
          </p:cNvCxnSpPr>
          <p:nvPr/>
        </p:nvCxnSpPr>
        <p:spPr>
          <a:xfrm>
            <a:off x="1179350" y="2309478"/>
            <a:ext cx="568462" cy="38875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32ED584-69C6-44A8-6BFB-593AF995F1F7}"/>
              </a:ext>
              <a:ext uri="{C183D7F6-B498-43B3-948B-1728B52AA6E4}">
                <adec:decorative xmlns:adec="http://schemas.microsoft.com/office/drawing/2017/decorative" val="1"/>
              </a:ext>
            </a:extLst>
          </p:cNvPr>
          <p:cNvCxnSpPr>
            <a:cxnSpLocks/>
          </p:cNvCxnSpPr>
          <p:nvPr/>
        </p:nvCxnSpPr>
        <p:spPr>
          <a:xfrm rot="10800000" flipH="1">
            <a:off x="4609164" y="2045517"/>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943B5C2-3DEB-EFCE-BEB8-1E3A3DC3FB54}"/>
              </a:ext>
              <a:ext uri="{C183D7F6-B498-43B3-948B-1728B52AA6E4}">
                <adec:decorative xmlns:adec="http://schemas.microsoft.com/office/drawing/2017/decorative" val="1"/>
              </a:ext>
            </a:extLst>
          </p:cNvPr>
          <p:cNvCxnSpPr>
            <a:cxnSpLocks/>
          </p:cNvCxnSpPr>
          <p:nvPr/>
        </p:nvCxnSpPr>
        <p:spPr>
          <a:xfrm rot="10800000" flipH="1">
            <a:off x="4609164" y="288446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EF37BBB0-6406-31BB-4ACC-B4D8740888EF}"/>
              </a:ext>
              <a:ext uri="{C183D7F6-B498-43B3-948B-1728B52AA6E4}">
                <adec:decorative xmlns:adec="http://schemas.microsoft.com/office/drawing/2017/decorative" val="1"/>
              </a:ext>
            </a:extLst>
          </p:cNvPr>
          <p:cNvCxnSpPr>
            <a:cxnSpLocks/>
          </p:cNvCxnSpPr>
          <p:nvPr/>
        </p:nvCxnSpPr>
        <p:spPr>
          <a:xfrm rot="10800000" flipH="1">
            <a:off x="4609164" y="330393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6DCF5A-BC0F-62D5-210F-FEAFC20EA41F}"/>
              </a:ext>
              <a:ext uri="{C183D7F6-B498-43B3-948B-1728B52AA6E4}">
                <adec:decorative xmlns:adec="http://schemas.microsoft.com/office/drawing/2017/decorative" val="1"/>
              </a:ext>
            </a:extLst>
          </p:cNvPr>
          <p:cNvCxnSpPr>
            <a:cxnSpLocks/>
          </p:cNvCxnSpPr>
          <p:nvPr/>
        </p:nvCxnSpPr>
        <p:spPr>
          <a:xfrm>
            <a:off x="5279018" y="2673193"/>
            <a:ext cx="392359" cy="1693"/>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C5A346E-785F-397E-BACF-B4DE38F78FEC}"/>
              </a:ext>
              <a:ext uri="{C183D7F6-B498-43B3-948B-1728B52AA6E4}">
                <adec:decorative xmlns:adec="http://schemas.microsoft.com/office/drawing/2017/decorative" val="1"/>
              </a:ext>
            </a:extLst>
          </p:cNvPr>
          <p:cNvSpPr txBox="1"/>
          <p:nvPr/>
        </p:nvSpPr>
        <p:spPr>
          <a:xfrm>
            <a:off x="8310064" y="3041696"/>
            <a:ext cx="95410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Orchestration</a:t>
            </a:r>
          </a:p>
        </p:txBody>
      </p:sp>
      <p:sp>
        <p:nvSpPr>
          <p:cNvPr id="27" name="Rectangle: Rounded Corners 5">
            <a:extLst>
              <a:ext uri="{FF2B5EF4-FFF2-40B4-BE49-F238E27FC236}">
                <a16:creationId xmlns:a16="http://schemas.microsoft.com/office/drawing/2014/main" id="{B8C2EE7A-89EA-1E00-D78D-D40063A602DB}"/>
              </a:ext>
            </a:extLst>
          </p:cNvPr>
          <p:cNvSpPr>
            <a:spLocks/>
          </p:cNvSpPr>
          <p:nvPr/>
        </p:nvSpPr>
        <p:spPr bwMode="auto">
          <a:xfrm>
            <a:off x="8361804" y="1492793"/>
            <a:ext cx="889187"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mp;7</a:t>
            </a:r>
          </a:p>
        </p:txBody>
      </p:sp>
      <p:cxnSp>
        <p:nvCxnSpPr>
          <p:cNvPr id="44" name="Straight Arrow Connector 43">
            <a:extLst>
              <a:ext uri="{FF2B5EF4-FFF2-40B4-BE49-F238E27FC236}">
                <a16:creationId xmlns:a16="http://schemas.microsoft.com/office/drawing/2014/main" id="{5F15ED3E-458A-C97C-23A2-16A9D86E6832}"/>
              </a:ext>
              <a:ext uri="{C183D7F6-B498-43B3-948B-1728B52AA6E4}">
                <adec:decorative xmlns:adec="http://schemas.microsoft.com/office/drawing/2017/decorative" val="1"/>
              </a:ext>
            </a:extLst>
          </p:cNvPr>
          <p:cNvCxnSpPr>
            <a:cxnSpLocks/>
          </p:cNvCxnSpPr>
          <p:nvPr/>
        </p:nvCxnSpPr>
        <p:spPr>
          <a:xfrm flipV="1">
            <a:off x="9005924"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87DAC0F-ED25-3CA8-90F9-87C5B3966C62}"/>
              </a:ext>
              <a:ext uri="{C183D7F6-B498-43B3-948B-1728B52AA6E4}">
                <adec:decorative xmlns:adec="http://schemas.microsoft.com/office/drawing/2017/decorative" val="1"/>
              </a:ext>
            </a:extLst>
          </p:cNvPr>
          <p:cNvCxnSpPr>
            <a:cxnSpLocks/>
          </p:cNvCxnSpPr>
          <p:nvPr/>
        </p:nvCxnSpPr>
        <p:spPr>
          <a:xfrm>
            <a:off x="8705143"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CC2A357-CDEB-9FBC-FCFA-45A842AD8E14}"/>
              </a:ext>
              <a:ext uri="{C183D7F6-B498-43B3-948B-1728B52AA6E4}">
                <adec:decorative xmlns:adec="http://schemas.microsoft.com/office/drawing/2017/decorative" val="1"/>
              </a:ext>
            </a:extLst>
          </p:cNvPr>
          <p:cNvCxnSpPr>
            <a:cxnSpLocks/>
          </p:cNvCxnSpPr>
          <p:nvPr/>
        </p:nvCxnSpPr>
        <p:spPr>
          <a:xfrm>
            <a:off x="9237414" y="2701948"/>
            <a:ext cx="1179254"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389BD1D-D174-862D-34C2-5D84F523100E}"/>
              </a:ext>
              <a:ext uri="{C183D7F6-B498-43B3-948B-1728B52AA6E4}">
                <adec:decorative xmlns:adec="http://schemas.microsoft.com/office/drawing/2017/decorative" val="1"/>
              </a:ext>
            </a:extLst>
          </p:cNvPr>
          <p:cNvSpPr txBox="1"/>
          <p:nvPr/>
        </p:nvSpPr>
        <p:spPr>
          <a:xfrm>
            <a:off x="9476622" y="1943930"/>
            <a:ext cx="81785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Query</a:t>
            </a:r>
          </a:p>
        </p:txBody>
      </p:sp>
      <p:cxnSp>
        <p:nvCxnSpPr>
          <p:cNvPr id="88" name="Straight Arrow Connector 87">
            <a:extLst>
              <a:ext uri="{FF2B5EF4-FFF2-40B4-BE49-F238E27FC236}">
                <a16:creationId xmlns:a16="http://schemas.microsoft.com/office/drawing/2014/main" id="{D4C98763-2715-9B81-FF2B-3214D868C8CB}"/>
              </a:ext>
              <a:ext uri="{C183D7F6-B498-43B3-948B-1728B52AA6E4}">
                <adec:decorative xmlns:adec="http://schemas.microsoft.com/office/drawing/2017/decorative" val="1"/>
              </a:ext>
            </a:extLst>
          </p:cNvPr>
          <p:cNvCxnSpPr>
            <a:cxnSpLocks/>
          </p:cNvCxnSpPr>
          <p:nvPr/>
        </p:nvCxnSpPr>
        <p:spPr>
          <a:xfrm flipH="1" flipV="1">
            <a:off x="6393191" y="2434892"/>
            <a:ext cx="1999774" cy="3942"/>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11260EA2-BF88-21E5-D6A4-712F8A33CC3D}"/>
              </a:ext>
              <a:ext uri="{C183D7F6-B498-43B3-948B-1728B52AA6E4}">
                <adec:decorative xmlns:adec="http://schemas.microsoft.com/office/drawing/2017/decorative" val="1"/>
              </a:ext>
            </a:extLst>
          </p:cNvPr>
          <p:cNvCxnSpPr>
            <a:cxnSpLocks/>
          </p:cNvCxnSpPr>
          <p:nvPr/>
        </p:nvCxnSpPr>
        <p:spPr>
          <a:xfrm flipH="1" flipV="1">
            <a:off x="9239607" y="2383215"/>
            <a:ext cx="1177060"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EB7213A-12FD-08EA-34E0-89ED2E121165}"/>
              </a:ext>
              <a:ext uri="{C183D7F6-B498-43B3-948B-1728B52AA6E4}">
                <adec:decorative xmlns:adec="http://schemas.microsoft.com/office/drawing/2017/decorative" val="1"/>
              </a:ext>
            </a:extLst>
          </p:cNvPr>
          <p:cNvSpPr txBox="1"/>
          <p:nvPr/>
        </p:nvSpPr>
        <p:spPr>
          <a:xfrm>
            <a:off x="9399373" y="2815130"/>
            <a:ext cx="1080745" cy="707886"/>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spon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umma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ferences, </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tc.</a:t>
            </a:r>
          </a:p>
        </p:txBody>
      </p:sp>
      <p:pic>
        <p:nvPicPr>
          <p:cNvPr id="125" name="Graphic 19">
            <a:extLst>
              <a:ext uri="{FF2B5EF4-FFF2-40B4-BE49-F238E27FC236}">
                <a16:creationId xmlns:a16="http://schemas.microsoft.com/office/drawing/2014/main" id="{8862C07B-B299-7959-34AE-8E0746CF8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8021" y="3900022"/>
            <a:ext cx="666214" cy="644248"/>
          </a:xfrm>
          <a:prstGeom prst="rect">
            <a:avLst/>
          </a:prstGeom>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27" name="Straight Arrow Connector 126">
            <a:extLst>
              <a:ext uri="{FF2B5EF4-FFF2-40B4-BE49-F238E27FC236}">
                <a16:creationId xmlns:a16="http://schemas.microsoft.com/office/drawing/2014/main" id="{2DCE3743-DAF6-785B-B9DB-141495129A6E}"/>
              </a:ext>
            </a:extLst>
          </p:cNvPr>
          <p:cNvCxnSpPr>
            <a:cxnSpLocks/>
          </p:cNvCxnSpPr>
          <p:nvPr/>
        </p:nvCxnSpPr>
        <p:spPr>
          <a:xfrm flipH="1" flipV="1">
            <a:off x="2502182" y="3073846"/>
            <a:ext cx="0" cy="700224"/>
          </a:xfrm>
          <a:prstGeom prst="straightConnector1">
            <a:avLst/>
          </a:prstGeom>
          <a:ln w="19050" cap="rnd">
            <a:solidFill>
              <a:schemeClr val="accent1"/>
            </a:solidFill>
            <a:prstDash val="sysDot"/>
            <a:headEnd type="arrow"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9" name="Rectangle: Rounded Corners 5">
            <a:extLst>
              <a:ext uri="{FF2B5EF4-FFF2-40B4-BE49-F238E27FC236}">
                <a16:creationId xmlns:a16="http://schemas.microsoft.com/office/drawing/2014/main" id="{E683810E-1012-4D69-1E6A-7F0B0605D56A}"/>
              </a:ext>
              <a:ext uri="{C183D7F6-B498-43B3-948B-1728B52AA6E4}">
                <adec:decorative xmlns:adec="http://schemas.microsoft.com/office/drawing/2017/decorative" val="0"/>
              </a:ext>
            </a:extLst>
          </p:cNvPr>
          <p:cNvSpPr>
            <a:spLocks/>
          </p:cNvSpPr>
          <p:nvPr/>
        </p:nvSpPr>
        <p:spPr bwMode="auto">
          <a:xfrm>
            <a:off x="2275324" y="1712245"/>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sp>
        <p:nvSpPr>
          <p:cNvPr id="130" name="Rectangle: Rounded Corners 5">
            <a:extLst>
              <a:ext uri="{FF2B5EF4-FFF2-40B4-BE49-F238E27FC236}">
                <a16:creationId xmlns:a16="http://schemas.microsoft.com/office/drawing/2014/main" id="{5A541C40-38DC-B8C9-34C0-A746C42D0629}"/>
              </a:ext>
              <a:ext uri="{C183D7F6-B498-43B3-948B-1728B52AA6E4}">
                <adec:decorative xmlns:adec="http://schemas.microsoft.com/office/drawing/2017/decorative" val="0"/>
              </a:ext>
            </a:extLst>
          </p:cNvPr>
          <p:cNvSpPr>
            <a:spLocks/>
          </p:cNvSpPr>
          <p:nvPr/>
        </p:nvSpPr>
        <p:spPr bwMode="auto">
          <a:xfrm>
            <a:off x="5805765" y="1531371"/>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sp>
        <p:nvSpPr>
          <p:cNvPr id="132" name="Rectangle: Rounded Corners 5">
            <a:extLst>
              <a:ext uri="{FF2B5EF4-FFF2-40B4-BE49-F238E27FC236}">
                <a16:creationId xmlns:a16="http://schemas.microsoft.com/office/drawing/2014/main" id="{7D54225B-9B0B-3561-7EBA-606F5C780700}"/>
              </a:ext>
              <a:ext uri="{C183D7F6-B498-43B3-948B-1728B52AA6E4}">
                <adec:decorative xmlns:adec="http://schemas.microsoft.com/office/drawing/2017/decorative" val="0"/>
              </a:ext>
            </a:extLst>
          </p:cNvPr>
          <p:cNvSpPr>
            <a:spLocks/>
          </p:cNvSpPr>
          <p:nvPr/>
        </p:nvSpPr>
        <p:spPr bwMode="auto">
          <a:xfrm>
            <a:off x="4010148" y="3656246"/>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Anatomy</a:t>
            </a:r>
            <a:r>
              <a:rPr lang="en-US"/>
              <a:t> </a:t>
            </a:r>
            <a:r>
              <a:rPr lang="en-US">
                <a:solidFill>
                  <a:schemeClr val="bg1"/>
                </a:solidFill>
              </a:rPr>
              <a:t>of RAG</a:t>
            </a:r>
          </a:p>
        </p:txBody>
      </p:sp>
      <p:sp>
        <p:nvSpPr>
          <p:cNvPr id="67" name="Rounded Rectangle 4">
            <a:extLst>
              <a:ext uri="{FF2B5EF4-FFF2-40B4-BE49-F238E27FC236}">
                <a16:creationId xmlns:a16="http://schemas.microsoft.com/office/drawing/2014/main" id="{56E8D405-944A-C6AA-719A-DA33DA06BC70}"/>
              </a:ext>
            </a:extLst>
          </p:cNvPr>
          <p:cNvSpPr/>
          <p:nvPr/>
        </p:nvSpPr>
        <p:spPr bwMode="auto">
          <a:xfrm>
            <a:off x="694155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and prompting—Prompt to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get retriever query </a:t>
            </a:r>
          </a:p>
        </p:txBody>
      </p:sp>
      <p:sp>
        <p:nvSpPr>
          <p:cNvPr id="52" name="Rounded Rectangle 4">
            <a:extLst>
              <a:ext uri="{FF2B5EF4-FFF2-40B4-BE49-F238E27FC236}">
                <a16:creationId xmlns:a16="http://schemas.microsoft.com/office/drawing/2014/main" id="{34201E34-26BB-5473-C6F2-8759B3EF0286}"/>
              </a:ext>
            </a:extLst>
          </p:cNvPr>
          <p:cNvSpPr/>
          <p:nvPr/>
        </p:nvSpPr>
        <p:spPr bwMode="auto">
          <a:xfrm>
            <a:off x="53831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Different data formats and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ystem of records</a:t>
            </a:r>
          </a:p>
        </p:txBody>
      </p:sp>
      <p:sp>
        <p:nvSpPr>
          <p:cNvPr id="56" name="Rounded Rectangle 4">
            <a:extLst>
              <a:ext uri="{FF2B5EF4-FFF2-40B4-BE49-F238E27FC236}">
                <a16:creationId xmlns:a16="http://schemas.microsoft.com/office/drawing/2014/main" id="{204C7964-A8F9-25B3-E43A-B843DACC8BF5}"/>
              </a:ext>
            </a:extLst>
          </p:cNvPr>
          <p:cNvSpPr/>
          <p:nvPr/>
        </p:nvSpPr>
        <p:spPr bwMode="auto">
          <a:xfrm>
            <a:off x="373993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embeddings data transformation, mappings?</a:t>
            </a:r>
          </a:p>
        </p:txBody>
      </p:sp>
      <p:sp>
        <p:nvSpPr>
          <p:cNvPr id="57" name="Rounded Rectangle 9">
            <a:extLst>
              <a:ext uri="{FF2B5EF4-FFF2-40B4-BE49-F238E27FC236}">
                <a16:creationId xmlns:a16="http://schemas.microsoft.com/office/drawing/2014/main" id="{964FA540-236F-1BF0-480A-4BF7EB8DC654}"/>
              </a:ext>
            </a:extLst>
          </p:cNvPr>
          <p:cNvSpPr/>
          <p:nvPr/>
        </p:nvSpPr>
        <p:spPr bwMode="auto">
          <a:xfrm>
            <a:off x="2139124" y="5197215"/>
            <a:ext cx="1463040" cy="1177022"/>
          </a:xfrm>
          <a:prstGeom prst="roundRect">
            <a:avLst>
              <a:gd name="adj" fmla="val 431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hat is the best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unking strategy?</a:t>
            </a:r>
          </a:p>
        </p:txBody>
      </p:sp>
      <p:sp>
        <p:nvSpPr>
          <p:cNvPr id="58" name="Rounded Rectangle 4">
            <a:extLst>
              <a:ext uri="{FF2B5EF4-FFF2-40B4-BE49-F238E27FC236}">
                <a16:creationId xmlns:a16="http://schemas.microsoft.com/office/drawing/2014/main" id="{0E88F4DA-42F8-B7DD-CCFC-02418B619E30}"/>
              </a:ext>
            </a:extLst>
          </p:cNvPr>
          <p:cNvSpPr/>
          <p:nvPr/>
        </p:nvSpPr>
        <p:spPr bwMode="auto">
          <a:xfrm>
            <a:off x="534074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atbot f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Q&amp;A surfaced to end users</a:t>
            </a:r>
          </a:p>
        </p:txBody>
      </p:sp>
      <p:sp>
        <p:nvSpPr>
          <p:cNvPr id="59" name="Rounded Rectangle 4">
            <a:extLst>
              <a:ext uri="{FF2B5EF4-FFF2-40B4-BE49-F238E27FC236}">
                <a16:creationId xmlns:a16="http://schemas.microsoft.com/office/drawing/2014/main" id="{6A1F4359-0DD7-CB8A-C0C9-3A278D716636}"/>
              </a:ext>
            </a:extLst>
          </p:cNvPr>
          <p:cNvSpPr/>
          <p:nvPr/>
        </p:nvSpPr>
        <p:spPr bwMode="auto">
          <a:xfrm>
            <a:off x="854236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semantic,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keyword 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hybrid approach? </a:t>
            </a:r>
          </a:p>
        </p:txBody>
      </p:sp>
      <p:sp>
        <p:nvSpPr>
          <p:cNvPr id="60" name="Rounded Rectangle 5">
            <a:extLst>
              <a:ext uri="{FF2B5EF4-FFF2-40B4-BE49-F238E27FC236}">
                <a16:creationId xmlns:a16="http://schemas.microsoft.com/office/drawing/2014/main" id="{ED199663-F9E6-25EE-3C91-E70002C6AEDC}"/>
              </a:ext>
            </a:extLst>
          </p:cNvPr>
          <p:cNvSpPr/>
          <p:nvPr/>
        </p:nvSpPr>
        <p:spPr bwMode="auto">
          <a:xfrm>
            <a:off x="53831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1. Data ingestion</a:t>
            </a:r>
          </a:p>
        </p:txBody>
      </p:sp>
      <p:sp>
        <p:nvSpPr>
          <p:cNvPr id="62" name="Rounded Rectangle 5">
            <a:extLst>
              <a:ext uri="{FF2B5EF4-FFF2-40B4-BE49-F238E27FC236}">
                <a16:creationId xmlns:a16="http://schemas.microsoft.com/office/drawing/2014/main" id="{B76A8B38-3B3F-C5DE-6DED-660FC1CD7BAC}"/>
              </a:ext>
            </a:extLst>
          </p:cNvPr>
          <p:cNvSpPr/>
          <p:nvPr/>
        </p:nvSpPr>
        <p:spPr bwMode="auto">
          <a:xfrm>
            <a:off x="213912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2. Chunking</a:t>
            </a:r>
          </a:p>
        </p:txBody>
      </p:sp>
      <p:sp>
        <p:nvSpPr>
          <p:cNvPr id="63" name="Rounded Rectangle 5">
            <a:extLst>
              <a:ext uri="{FF2B5EF4-FFF2-40B4-BE49-F238E27FC236}">
                <a16:creationId xmlns:a16="http://schemas.microsoft.com/office/drawing/2014/main" id="{9D09D863-6759-D86B-0E43-E484A18A000A}"/>
              </a:ext>
            </a:extLst>
          </p:cNvPr>
          <p:cNvSpPr/>
          <p:nvPr/>
        </p:nvSpPr>
        <p:spPr bwMode="auto">
          <a:xfrm>
            <a:off x="373993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3. Indexing</a:t>
            </a:r>
          </a:p>
        </p:txBody>
      </p:sp>
      <p:sp>
        <p:nvSpPr>
          <p:cNvPr id="64" name="Rounded Rectangle 5">
            <a:extLst>
              <a:ext uri="{FF2B5EF4-FFF2-40B4-BE49-F238E27FC236}">
                <a16:creationId xmlns:a16="http://schemas.microsoft.com/office/drawing/2014/main" id="{A47B12C0-C963-0B8C-A1A7-FB5775F47780}"/>
              </a:ext>
            </a:extLst>
          </p:cNvPr>
          <p:cNvSpPr/>
          <p:nvPr/>
        </p:nvSpPr>
        <p:spPr bwMode="auto">
          <a:xfrm>
            <a:off x="534074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4. User interface</a:t>
            </a:r>
          </a:p>
        </p:txBody>
      </p:sp>
      <p:sp>
        <p:nvSpPr>
          <p:cNvPr id="66" name="Rounded Rectangle 5">
            <a:extLst>
              <a:ext uri="{FF2B5EF4-FFF2-40B4-BE49-F238E27FC236}">
                <a16:creationId xmlns:a16="http://schemas.microsoft.com/office/drawing/2014/main" id="{1552E2D5-E88D-5C36-7A77-CDFABA5DB56B}"/>
              </a:ext>
            </a:extLst>
          </p:cNvPr>
          <p:cNvSpPr/>
          <p:nvPr/>
        </p:nvSpPr>
        <p:spPr bwMode="auto">
          <a:xfrm>
            <a:off x="694155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5. Orchestration</a:t>
            </a:r>
          </a:p>
        </p:txBody>
      </p:sp>
      <p:sp>
        <p:nvSpPr>
          <p:cNvPr id="68" name="Rounded Rectangle 5">
            <a:extLst>
              <a:ext uri="{FF2B5EF4-FFF2-40B4-BE49-F238E27FC236}">
                <a16:creationId xmlns:a16="http://schemas.microsoft.com/office/drawing/2014/main" id="{2CDEF859-A698-800B-2EAC-84D9193DF841}"/>
              </a:ext>
            </a:extLst>
          </p:cNvPr>
          <p:cNvSpPr/>
          <p:nvPr/>
        </p:nvSpPr>
        <p:spPr bwMode="auto">
          <a:xfrm>
            <a:off x="854236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6. Data retrieving</a:t>
            </a:r>
          </a:p>
        </p:txBody>
      </p:sp>
      <p:sp>
        <p:nvSpPr>
          <p:cNvPr id="71" name="Rounded Rectangle 4">
            <a:extLst>
              <a:ext uri="{FF2B5EF4-FFF2-40B4-BE49-F238E27FC236}">
                <a16:creationId xmlns:a16="http://schemas.microsoft.com/office/drawing/2014/main" id="{C24D777A-83FD-C93C-8A74-EAC86D18B1D4}"/>
              </a:ext>
            </a:extLst>
          </p:cNvPr>
          <p:cNvSpPr/>
          <p:nvPr/>
        </p:nvSpPr>
        <p:spPr bwMode="auto">
          <a:xfrm>
            <a:off x="1014317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create user response based on retrieve data and send to User app</a:t>
            </a:r>
          </a:p>
        </p:txBody>
      </p:sp>
      <p:sp>
        <p:nvSpPr>
          <p:cNvPr id="75" name="Rounded Rectangle 5">
            <a:extLst>
              <a:ext uri="{FF2B5EF4-FFF2-40B4-BE49-F238E27FC236}">
                <a16:creationId xmlns:a16="http://schemas.microsoft.com/office/drawing/2014/main" id="{989A5609-5655-BC66-94AD-E9163E6EEF77}"/>
              </a:ext>
            </a:extLst>
          </p:cNvPr>
          <p:cNvSpPr/>
          <p:nvPr/>
        </p:nvSpPr>
        <p:spPr bwMode="auto">
          <a:xfrm>
            <a:off x="1014317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7. Orchestration</a:t>
            </a:r>
          </a:p>
        </p:txBody>
      </p:sp>
      <p:grpSp>
        <p:nvGrpSpPr>
          <p:cNvPr id="6" name="Group 5">
            <a:extLst>
              <a:ext uri="{FF2B5EF4-FFF2-40B4-BE49-F238E27FC236}">
                <a16:creationId xmlns:a16="http://schemas.microsoft.com/office/drawing/2014/main" id="{63586D0C-2D90-3BD2-9125-210ADD1B9E69}"/>
              </a:ext>
              <a:ext uri="{C183D7F6-B498-43B3-948B-1728B52AA6E4}">
                <adec:decorative xmlns:adec="http://schemas.microsoft.com/office/drawing/2017/decorative" val="1"/>
              </a:ext>
            </a:extLst>
          </p:cNvPr>
          <p:cNvGrpSpPr/>
          <p:nvPr/>
        </p:nvGrpSpPr>
        <p:grpSpPr>
          <a:xfrm>
            <a:off x="5664783" y="2158892"/>
            <a:ext cx="569891" cy="415129"/>
            <a:chOff x="878175" y="2720627"/>
            <a:chExt cx="3307848" cy="2409554"/>
          </a:xfrm>
          <a:effectLst>
            <a:outerShdw blurRad="63500" dist="127000" dir="2700000" algn="tl" rotWithShape="0">
              <a:prstClr val="black">
                <a:alpha val="20000"/>
              </a:prstClr>
            </a:outerShdw>
          </a:effectLst>
        </p:grpSpPr>
        <p:sp>
          <p:nvSpPr>
            <p:cNvPr id="8" name="Freeform: Shape 7">
              <a:extLst>
                <a:ext uri="{FF2B5EF4-FFF2-40B4-BE49-F238E27FC236}">
                  <a16:creationId xmlns:a16="http://schemas.microsoft.com/office/drawing/2014/main" id="{DF0E397E-1737-CD6B-BF86-BD27FE19EDD9}"/>
                </a:ext>
              </a:extLst>
            </p:cNvPr>
            <p:cNvSpPr/>
            <p:nvPr/>
          </p:nvSpPr>
          <p:spPr>
            <a:xfrm>
              <a:off x="878175" y="2720627"/>
              <a:ext cx="3307848" cy="2409554"/>
            </a:xfrm>
            <a:custGeom>
              <a:avLst/>
              <a:gdLst>
                <a:gd name="connsiteX0" fmla="*/ 3307848 w 3307848"/>
                <a:gd name="connsiteY0" fmla="*/ 1655757 h 2409554"/>
                <a:gd name="connsiteX1" fmla="*/ 2662818 w 3307848"/>
                <a:gd name="connsiteY1" fmla="*/ 919949 h 2409554"/>
                <a:gd name="connsiteX2" fmla="*/ 1698029 w 3307848"/>
                <a:gd name="connsiteY2" fmla="*/ 190 h 2409554"/>
                <a:gd name="connsiteX3" fmla="*/ 779182 w 3307848"/>
                <a:gd name="connsiteY3" fmla="*/ 642182 h 2409554"/>
                <a:gd name="connsiteX4" fmla="*/ 0 w 3307848"/>
                <a:gd name="connsiteY4" fmla="*/ 1521472 h 2409554"/>
                <a:gd name="connsiteX5" fmla="*/ 931711 w 3307848"/>
                <a:gd name="connsiteY5" fmla="*/ 2408120 h 2409554"/>
                <a:gd name="connsiteX6" fmla="*/ 1012569 w 3307848"/>
                <a:gd name="connsiteY6" fmla="*/ 2408120 h 2409554"/>
                <a:gd name="connsiteX7" fmla="*/ 2521315 w 3307848"/>
                <a:gd name="connsiteY7" fmla="*/ 2408120 h 2409554"/>
                <a:gd name="connsiteX8" fmla="*/ 2561745 w 3307848"/>
                <a:gd name="connsiteY8" fmla="*/ 2408120 h 2409554"/>
                <a:gd name="connsiteX9" fmla="*/ 3307848 w 3307848"/>
                <a:gd name="connsiteY9" fmla="*/ 1655757 h 240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7848" h="2409554">
                  <a:moveTo>
                    <a:pt x="3307848" y="1655757"/>
                  </a:moveTo>
                  <a:cubicBezTo>
                    <a:pt x="3301140" y="1285743"/>
                    <a:pt x="3028464" y="974681"/>
                    <a:pt x="2662818" y="919949"/>
                  </a:cubicBezTo>
                  <a:cubicBezTo>
                    <a:pt x="2647786" y="400320"/>
                    <a:pt x="2217251" y="-10122"/>
                    <a:pt x="1698029" y="190"/>
                  </a:cubicBezTo>
                  <a:cubicBezTo>
                    <a:pt x="1286260" y="-4026"/>
                    <a:pt x="917207" y="253828"/>
                    <a:pt x="779182" y="642182"/>
                  </a:cubicBezTo>
                  <a:cubicBezTo>
                    <a:pt x="336427" y="699172"/>
                    <a:pt x="3703" y="1074644"/>
                    <a:pt x="0" y="1521472"/>
                  </a:cubicBezTo>
                  <a:cubicBezTo>
                    <a:pt x="17941" y="2021508"/>
                    <a:pt x="431909" y="2415441"/>
                    <a:pt x="931711" y="2408120"/>
                  </a:cubicBezTo>
                  <a:lnTo>
                    <a:pt x="1012569" y="2408120"/>
                  </a:lnTo>
                  <a:lnTo>
                    <a:pt x="2521315" y="2408120"/>
                  </a:lnTo>
                  <a:cubicBezTo>
                    <a:pt x="2534731" y="2410033"/>
                    <a:pt x="2548329" y="2410033"/>
                    <a:pt x="2561745" y="2408120"/>
                  </a:cubicBezTo>
                  <a:cubicBezTo>
                    <a:pt x="2973039" y="2401166"/>
                    <a:pt x="3303915" y="2067496"/>
                    <a:pt x="3307848" y="1655757"/>
                  </a:cubicBezTo>
                  <a:close/>
                </a:path>
              </a:pathLst>
            </a:custGeom>
            <a:gradFill>
              <a:gsLst>
                <a:gs pos="18000">
                  <a:srgbClr val="5EA0EF"/>
                </a:gs>
                <a:gs pos="100000">
                  <a:srgbClr val="0078D4"/>
                </a:gs>
              </a:gsLst>
              <a:lin ang="5400000" scaled="1"/>
            </a:gra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16370A26-518E-625A-8F12-62590B16ED0F}"/>
                </a:ext>
              </a:extLst>
            </p:cNvPr>
            <p:cNvSpPr/>
            <p:nvPr/>
          </p:nvSpPr>
          <p:spPr>
            <a:xfrm>
              <a:off x="1700952" y="3233020"/>
              <a:ext cx="1523821" cy="1531529"/>
            </a:xfrm>
            <a:custGeom>
              <a:avLst/>
              <a:gdLst>
                <a:gd name="connsiteX0" fmla="*/ 1443099 w 1523821"/>
                <a:gd name="connsiteY0" fmla="*/ 273271 h 1531529"/>
                <a:gd name="connsiteX1" fmla="*/ 668666 w 1523821"/>
                <a:gd name="connsiteY1" fmla="*/ 81159 h 1531529"/>
                <a:gd name="connsiteX2" fmla="*/ 412153 w 1523821"/>
                <a:gd name="connsiteY2" fmla="*/ 429630 h 1531529"/>
                <a:gd name="connsiteX3" fmla="*/ 472797 w 1523821"/>
                <a:gd name="connsiteY3" fmla="*/ 847201 h 1531529"/>
                <a:gd name="connsiteX4" fmla="*/ 42777 w 1523821"/>
                <a:gd name="connsiteY4" fmla="*/ 1283167 h 1531529"/>
                <a:gd name="connsiteX5" fmla="*/ 42268 w 1523821"/>
                <a:gd name="connsiteY5" fmla="*/ 1488678 h 1531529"/>
                <a:gd name="connsiteX6" fmla="*/ 42777 w 1523821"/>
                <a:gd name="connsiteY6" fmla="*/ 1489193 h 1531529"/>
                <a:gd name="connsiteX7" fmla="*/ 145687 w 1523821"/>
                <a:gd name="connsiteY7" fmla="*/ 1531502 h 1531529"/>
                <a:gd name="connsiteX8" fmla="*/ 248598 w 1523821"/>
                <a:gd name="connsiteY8" fmla="*/ 1489193 h 1531529"/>
                <a:gd name="connsiteX9" fmla="*/ 676781 w 1523821"/>
                <a:gd name="connsiteY9" fmla="*/ 1055066 h 1531529"/>
                <a:gd name="connsiteX10" fmla="*/ 825634 w 1523821"/>
                <a:gd name="connsiteY10" fmla="*/ 1115771 h 1531529"/>
                <a:gd name="connsiteX11" fmla="*/ 1508172 w 1523821"/>
                <a:gd name="connsiteY11" fmla="*/ 697166 h 1531529"/>
                <a:gd name="connsiteX12" fmla="*/ 1443099 w 1523821"/>
                <a:gd name="connsiteY12" fmla="*/ 273271 h 1531529"/>
                <a:gd name="connsiteX13" fmla="*/ 1343864 w 1523821"/>
                <a:gd name="connsiteY13" fmla="*/ 659570 h 1531529"/>
                <a:gd name="connsiteX14" fmla="*/ 959786 w 1523821"/>
                <a:gd name="connsiteY14" fmla="*/ 963091 h 1531529"/>
                <a:gd name="connsiteX15" fmla="*/ 866063 w 1523821"/>
                <a:gd name="connsiteY15" fmla="*/ 950214 h 1531529"/>
                <a:gd name="connsiteX16" fmla="*/ 737425 w 1523821"/>
                <a:gd name="connsiteY16" fmla="*/ 891349 h 1531529"/>
                <a:gd name="connsiteX17" fmla="*/ 634514 w 1523821"/>
                <a:gd name="connsiteY17" fmla="*/ 788336 h 1531529"/>
                <a:gd name="connsiteX18" fmla="*/ 577545 w 1523821"/>
                <a:gd name="connsiteY18" fmla="*/ 470100 h 1531529"/>
                <a:gd name="connsiteX19" fmla="*/ 959786 w 1523821"/>
                <a:gd name="connsiteY19" fmla="*/ 164740 h 1531529"/>
                <a:gd name="connsiteX20" fmla="*/ 1055346 w 1523821"/>
                <a:gd name="connsiteY20" fmla="*/ 175777 h 1531529"/>
                <a:gd name="connsiteX21" fmla="*/ 1297921 w 1523821"/>
                <a:gd name="connsiteY21" fmla="*/ 359728 h 1531529"/>
                <a:gd name="connsiteX22" fmla="*/ 1343864 w 1523821"/>
                <a:gd name="connsiteY22" fmla="*/ 659570 h 15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821" h="1531529">
                  <a:moveTo>
                    <a:pt x="1443099" y="273271"/>
                  </a:moveTo>
                  <a:cubicBezTo>
                    <a:pt x="1282246" y="6155"/>
                    <a:pt x="935517" y="-79856"/>
                    <a:pt x="668666" y="81159"/>
                  </a:cubicBezTo>
                  <a:cubicBezTo>
                    <a:pt x="540319" y="158603"/>
                    <a:pt x="448027" y="283981"/>
                    <a:pt x="412153" y="429630"/>
                  </a:cubicBezTo>
                  <a:cubicBezTo>
                    <a:pt x="379404" y="571510"/>
                    <a:pt x="401044" y="720528"/>
                    <a:pt x="472797" y="847201"/>
                  </a:cubicBezTo>
                  <a:lnTo>
                    <a:pt x="42777" y="1283167"/>
                  </a:lnTo>
                  <a:cubicBezTo>
                    <a:pt x="-14059" y="1339769"/>
                    <a:pt x="-14287" y="1431781"/>
                    <a:pt x="42268" y="1488678"/>
                  </a:cubicBezTo>
                  <a:cubicBezTo>
                    <a:pt x="42437" y="1488862"/>
                    <a:pt x="42606" y="1489027"/>
                    <a:pt x="42777" y="1489193"/>
                  </a:cubicBezTo>
                  <a:cubicBezTo>
                    <a:pt x="69991" y="1516583"/>
                    <a:pt x="107092" y="1531851"/>
                    <a:pt x="145687" y="1531502"/>
                  </a:cubicBezTo>
                  <a:cubicBezTo>
                    <a:pt x="184364" y="1532274"/>
                    <a:pt x="221628" y="1516951"/>
                    <a:pt x="248598" y="1489193"/>
                  </a:cubicBezTo>
                  <a:lnTo>
                    <a:pt x="676781" y="1055066"/>
                  </a:lnTo>
                  <a:cubicBezTo>
                    <a:pt x="723326" y="1082144"/>
                    <a:pt x="773431" y="1102581"/>
                    <a:pt x="825634" y="1115771"/>
                  </a:cubicBezTo>
                  <a:cubicBezTo>
                    <a:pt x="1129588" y="1188836"/>
                    <a:pt x="1435179" y="1001426"/>
                    <a:pt x="1508172" y="697166"/>
                  </a:cubicBezTo>
                  <a:cubicBezTo>
                    <a:pt x="1542812" y="552792"/>
                    <a:pt x="1519437" y="400577"/>
                    <a:pt x="1443099" y="273271"/>
                  </a:cubicBezTo>
                  <a:close/>
                  <a:moveTo>
                    <a:pt x="1343864" y="659570"/>
                  </a:moveTo>
                  <a:cubicBezTo>
                    <a:pt x="1300770" y="837098"/>
                    <a:pt x="1142305" y="962336"/>
                    <a:pt x="959786" y="963091"/>
                  </a:cubicBezTo>
                  <a:cubicBezTo>
                    <a:pt x="928089" y="963348"/>
                    <a:pt x="896521" y="959007"/>
                    <a:pt x="866063" y="950214"/>
                  </a:cubicBezTo>
                  <a:cubicBezTo>
                    <a:pt x="819570" y="939729"/>
                    <a:pt x="775763" y="919696"/>
                    <a:pt x="737425" y="891349"/>
                  </a:cubicBezTo>
                  <a:cubicBezTo>
                    <a:pt x="696990" y="863753"/>
                    <a:pt x="662083" y="828811"/>
                    <a:pt x="634514" y="788336"/>
                  </a:cubicBezTo>
                  <a:cubicBezTo>
                    <a:pt x="571538" y="695047"/>
                    <a:pt x="550849" y="579474"/>
                    <a:pt x="577545" y="470100"/>
                  </a:cubicBezTo>
                  <a:cubicBezTo>
                    <a:pt x="618555" y="291745"/>
                    <a:pt x="776950" y="165207"/>
                    <a:pt x="959786" y="164740"/>
                  </a:cubicBezTo>
                  <a:cubicBezTo>
                    <a:pt x="991954" y="164782"/>
                    <a:pt x="1024013" y="168485"/>
                    <a:pt x="1055346" y="175777"/>
                  </a:cubicBezTo>
                  <a:cubicBezTo>
                    <a:pt x="1157227" y="202768"/>
                    <a:pt x="1244389" y="268860"/>
                    <a:pt x="1297921" y="359728"/>
                  </a:cubicBezTo>
                  <a:cubicBezTo>
                    <a:pt x="1352832" y="449447"/>
                    <a:pt x="1369389" y="557503"/>
                    <a:pt x="1343864" y="659570"/>
                  </a:cubicBezTo>
                  <a:close/>
                </a:path>
              </a:pathLst>
            </a:custGeom>
            <a:solidFill>
              <a:srgbClr val="F2F2F2"/>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7F29EF4-A1EC-4E00-A76D-023F632A8838}"/>
                </a:ext>
              </a:extLst>
            </p:cNvPr>
            <p:cNvSpPr/>
            <p:nvPr/>
          </p:nvSpPr>
          <p:spPr>
            <a:xfrm>
              <a:off x="2263796" y="3401439"/>
              <a:ext cx="790208" cy="794671"/>
            </a:xfrm>
            <a:custGeom>
              <a:avLst/>
              <a:gdLst>
                <a:gd name="connsiteX0" fmla="*/ 790208 w 790208"/>
                <a:gd name="connsiteY0" fmla="*/ 397336 h 794671"/>
                <a:gd name="connsiteX1" fmla="*/ 395104 w 790208"/>
                <a:gd name="connsiteY1" fmla="*/ 794672 h 794671"/>
                <a:gd name="connsiteX2" fmla="*/ 0 w 790208"/>
                <a:gd name="connsiteY2" fmla="*/ 397336 h 794671"/>
                <a:gd name="connsiteX3" fmla="*/ 395104 w 790208"/>
                <a:gd name="connsiteY3" fmla="*/ 0 h 794671"/>
                <a:gd name="connsiteX4" fmla="*/ 790208 w 790208"/>
                <a:gd name="connsiteY4" fmla="*/ 397336 h 79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208" h="794671">
                  <a:moveTo>
                    <a:pt x="790208" y="397336"/>
                  </a:moveTo>
                  <a:cubicBezTo>
                    <a:pt x="790208" y="616779"/>
                    <a:pt x="613314" y="794672"/>
                    <a:pt x="395104" y="794672"/>
                  </a:cubicBezTo>
                  <a:cubicBezTo>
                    <a:pt x="176894" y="794672"/>
                    <a:pt x="0" y="616779"/>
                    <a:pt x="0" y="397336"/>
                  </a:cubicBezTo>
                  <a:cubicBezTo>
                    <a:pt x="0" y="177893"/>
                    <a:pt x="176894" y="0"/>
                    <a:pt x="395104" y="0"/>
                  </a:cubicBezTo>
                  <a:cubicBezTo>
                    <a:pt x="613314" y="0"/>
                    <a:pt x="790208" y="177893"/>
                    <a:pt x="790208" y="397336"/>
                  </a:cubicBezTo>
                  <a:close/>
                </a:path>
              </a:pathLst>
            </a:custGeom>
            <a:solidFill>
              <a:srgbClr val="83B9F9"/>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pic>
        <p:nvPicPr>
          <p:cNvPr id="42" name="Graphic 41">
            <a:extLst>
              <a:ext uri="{FF2B5EF4-FFF2-40B4-BE49-F238E27FC236}">
                <a16:creationId xmlns:a16="http://schemas.microsoft.com/office/drawing/2014/main" id="{36A5B028-CE4F-F262-F93C-6B8B6B3A9F8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24985" y="2272051"/>
            <a:ext cx="548640" cy="548640"/>
          </a:xfrm>
          <a:prstGeom prst="rect">
            <a:avLst/>
          </a:prstGeom>
        </p:spPr>
      </p:pic>
      <p:pic>
        <p:nvPicPr>
          <p:cNvPr id="43" name="Graphic 42">
            <a:extLst>
              <a:ext uri="{FF2B5EF4-FFF2-40B4-BE49-F238E27FC236}">
                <a16:creationId xmlns:a16="http://schemas.microsoft.com/office/drawing/2014/main" id="{A26DD6EE-7E3F-0467-6F53-4E0C0F30F0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58021" y="2266490"/>
            <a:ext cx="548640" cy="548640"/>
          </a:xfrm>
          <a:prstGeom prst="rect">
            <a:avLst/>
          </a:prstGeom>
        </p:spPr>
      </p:pic>
    </p:spTree>
    <p:extLst>
      <p:ext uri="{BB962C8B-B14F-4D97-AF65-F5344CB8AC3E}">
        <p14:creationId xmlns:p14="http://schemas.microsoft.com/office/powerpoint/2010/main" val="339702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994880A3-230F-81A9-CB77-0990685F8C23}"/>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Microhack</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gestion</a:t>
            </a:r>
          </a:p>
        </p:txBody>
      </p:sp>
      <p:sp>
        <p:nvSpPr>
          <p:cNvPr id="1141" name="Title 1140">
            <a:extLst>
              <a:ext uri="{FF2B5EF4-FFF2-40B4-BE49-F238E27FC236}">
                <a16:creationId xmlns:a16="http://schemas.microsoft.com/office/drawing/2014/main" id="{84094E9D-4911-4CD1-1BB3-9798F71E2BA9}"/>
              </a:ext>
            </a:extLst>
          </p:cNvPr>
          <p:cNvSpPr txBox="1">
            <a:spLocks/>
          </p:cNvSpPr>
          <p:nvPr/>
        </p:nvSpPr>
        <p:spPr>
          <a:xfrm>
            <a:off x="1712752" y="2555807"/>
            <a:ext cx="738408" cy="21544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eb App</a:t>
            </a:r>
            <a:endParaRPr kumimoji="0" lang="en-US" sz="1400" b="0" i="0" u="none" strike="noStrike" kern="1200" cap="none" spc="0" normalizeH="0" baseline="0" noProof="0" dirty="0">
              <a:ln>
                <a:noFill/>
              </a:ln>
              <a:solidFill>
                <a:srgbClr val="FFFFFF"/>
              </a:solidFill>
              <a:effectLst/>
              <a:uLnTx/>
              <a:uFillTx/>
              <a:latin typeface="Segoe Sans Text"/>
              <a:ea typeface="+mn-ea"/>
              <a:cs typeface="+mn-cs"/>
            </a:endParaRP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92596" y="6193083"/>
            <a:ext cx="82394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ialogi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704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569137C-E72A-B556-A95B-110536DF8926}"/>
              </a:ext>
            </a:extLst>
          </p:cNvPr>
          <p:cNvGraphicFramePr>
            <a:graphicFrameLocks noGrp="1"/>
          </p:cNvGraphicFramePr>
          <p:nvPr>
            <p:extLst>
              <p:ext uri="{D42A27DB-BD31-4B8C-83A1-F6EECF244321}">
                <p14:modId xmlns:p14="http://schemas.microsoft.com/office/powerpoint/2010/main" val="3307392807"/>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9010696"/>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950432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674A50B1-C8C1-5422-E4EE-82B4CEE29D9D}"/>
              </a:ext>
            </a:extLst>
          </p:cNvPr>
          <p:cNvGraphicFramePr>
            <a:graphicFrameLocks noGrp="1"/>
          </p:cNvGraphicFramePr>
          <p:nvPr>
            <p:extLst>
              <p:ext uri="{D42A27DB-BD31-4B8C-83A1-F6EECF244321}">
                <p14:modId xmlns:p14="http://schemas.microsoft.com/office/powerpoint/2010/main" val="13457064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50 – 12:5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749239"/>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Break</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50 – 1: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0 – 2: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7571303" cy="369332"/>
          </a:xfrm>
          <a:prstGeom prst="rect">
            <a:avLst/>
          </a:prstGeom>
          <a:noFill/>
        </p:spPr>
        <p:txBody>
          <a:bodyPr wrap="none" rtlCol="0">
            <a:spAutoFit/>
          </a:bodyPr>
          <a:lstStyle/>
          <a:p>
            <a:r>
              <a:rPr lang="en-US">
                <a:solidFill>
                  <a:schemeClr val="bg1"/>
                </a:solidFill>
              </a:rPr>
              <a:t>GitHub: 	</a:t>
            </a:r>
            <a:r>
              <a:rPr lang="en-US">
                <a:solidFill>
                  <a:srgbClr val="00B0F0"/>
                </a:solidFill>
                <a:hlinkClick r:id="rId4">
                  <a:extLst>
                    <a:ext uri="{A12FA001-AC4F-418D-AE19-62706E023703}">
                      <ahyp:hlinkClr xmlns:ahyp="http://schemas.microsoft.com/office/drawing/2018/hyperlinkcolor" val="tx"/>
                    </a:ext>
                  </a:extLst>
                </a:hlinkClick>
              </a:rPr>
              <a:t>https://github.com/Boykai/octo-microhack-rag-ai-and-your-data</a:t>
            </a:r>
            <a:r>
              <a:rPr lang="en-US">
                <a:solidFill>
                  <a:srgbClr val="00B0F0"/>
                </a:solidFill>
              </a:rPr>
              <a:t> </a:t>
            </a:r>
            <a:r>
              <a:rPr lang="en-US">
                <a:solidFill>
                  <a:schemeClr val="bg1"/>
                </a:solidFill>
              </a:rPr>
              <a:t>	</a:t>
            </a:r>
            <a:endParaRPr lang="en-US"/>
          </a:p>
        </p:txBody>
      </p:sp>
    </p:spTree>
    <p:extLst>
      <p:ext uri="{BB962C8B-B14F-4D97-AF65-F5344CB8AC3E}">
        <p14:creationId xmlns:p14="http://schemas.microsoft.com/office/powerpoint/2010/main" val="1372010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Brea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116AB21F-6A99-5326-7895-B4E459684060}"/>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386924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BD022E9-AFB4-63DC-68AA-F3617EC1E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239256-24C0-F1B8-E6C7-C17371BAD85E}"/>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47E7FE8B-C7F1-613D-3529-1A04D822E8D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ACA3C1F8-524B-283B-08B2-1F709335FFF8}"/>
              </a:ext>
            </a:extLst>
          </p:cNvPr>
          <p:cNvGraphicFramePr>
            <a:graphicFrameLocks noGrp="1"/>
          </p:cNvGraphicFramePr>
          <p:nvPr>
            <p:extLst>
              <p:ext uri="{D42A27DB-BD31-4B8C-83A1-F6EECF244321}">
                <p14:modId xmlns:p14="http://schemas.microsoft.com/office/powerpoint/2010/main" val="3641718746"/>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4981778"/>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Brea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50 – 1: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5BDE91AB-6E67-62B0-E1BA-5AAC6A29D99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114190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C80C2D2D-3211-6DD8-E94A-78CAC34C6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77D6E9-38A3-D65F-5F10-69F5903B8CE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C0A44491-B1D9-8680-F1FC-67FF83F680F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55120DED-9CB4-82C5-CF2A-C0F0F5CE44E7}"/>
              </a:ext>
            </a:extLst>
          </p:cNvPr>
          <p:cNvGraphicFramePr>
            <a:graphicFrameLocks noGrp="1"/>
          </p:cNvGraphicFramePr>
          <p:nvPr>
            <p:extLst>
              <p:ext uri="{D42A27DB-BD31-4B8C-83A1-F6EECF244321}">
                <p14:modId xmlns:p14="http://schemas.microsoft.com/office/powerpoint/2010/main" val="50742447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0691590"/>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how &amp; Tell</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00 – 2:45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11D9CB48-E182-4793-8D68-FC794F58A71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0678086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
        <p:nvSpPr>
          <p:cNvPr id="3" name="Title 2">
            <a:extLst>
              <a:ext uri="{FF2B5EF4-FFF2-40B4-BE49-F238E27FC236}">
                <a16:creationId xmlns:a16="http://schemas.microsoft.com/office/drawing/2014/main" id="{D9C7FFCD-5A94-41A0-6EB7-D10258526DCB}"/>
              </a:ext>
            </a:extLst>
          </p:cNvPr>
          <p:cNvSpPr>
            <a:spLocks noGrp="1"/>
          </p:cNvSpPr>
          <p:nvPr>
            <p:ph type="title"/>
          </p:nvPr>
        </p:nvSpPr>
        <p:spPr>
          <a:xfrm>
            <a:off x="585216" y="-553998"/>
            <a:ext cx="9144000" cy="553998"/>
          </a:xfrm>
        </p:spPr>
        <p:txBody>
          <a:bodyPr vert="horz" wrap="square" lIns="0" tIns="0" rIns="0" bIns="0" rtlCol="0" anchor="b" anchorCtr="0">
            <a:spAutoFit/>
          </a:bodyPr>
          <a:lstStyle/>
          <a:p>
            <a:r>
              <a:rPr lang="en-US" dirty="0"/>
              <a:t>Show and Tell Instruction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2D4EDE2B-38E5-D87B-2869-DC2D32C1D44B}"/>
              </a:ext>
            </a:extLst>
          </p:cNvPr>
          <p:cNvGraphicFramePr>
            <a:graphicFrameLocks noGrp="1"/>
          </p:cNvGraphicFramePr>
          <p:nvPr>
            <p:extLst>
              <p:ext uri="{D42A27DB-BD31-4B8C-83A1-F6EECF244321}">
                <p14:modId xmlns:p14="http://schemas.microsoft.com/office/powerpoint/2010/main" val="4123390163"/>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416511"/>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Clos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45 – 3:00 P.M. (EST)</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244852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6533F057-A34B-D7F2-F1A1-8EC97E879CA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A8B7E6F8-07A6-A125-3EF6-0C2352F57ABB}"/>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F35D4547-3A02-45E3-68EE-DA3DEBBC7432}"/>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20BBA97F-2B3A-8F17-3F73-D4C673E083E8}"/>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9DC03C93-75C9-8810-A338-1A106DC44DF5}"/>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6DCE865C-6C90-573C-A1DC-D5B5673A640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E3B0B688-1982-D974-3072-077E31E746E6}"/>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1830B0EE-5CA9-070C-B2C2-AAB5A61A7B13}"/>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D9395DBC-EA29-EBCB-B756-C0877244A912}"/>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0494F738-4EA2-E9BD-F185-5319A442FD68}"/>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5" name="TextBox 4">
            <a:extLst>
              <a:ext uri="{FF2B5EF4-FFF2-40B4-BE49-F238E27FC236}">
                <a16:creationId xmlns:a16="http://schemas.microsoft.com/office/drawing/2014/main" id="{A6EEDBAC-1BB7-1414-D1D4-78F10EC30A6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151304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FA038C1-7C4A-F50B-9166-8536E3D630D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ED203284-0117-2C01-CCEF-285C78E48C59}"/>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07FA445C-1133-4400-1511-A39F83932F6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4836EB43-3EE6-0CE7-40F6-679A129A551A}"/>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End</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37B5AD25-EC2A-E597-47B7-3360526F974F}"/>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D4CDD84F-C25F-2DA8-0F39-BE86276A882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4527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994880A3-230F-81A9-CB77-0990685F8C23}"/>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84094E9D-4911-4CD1-1BB3-9798F71E2BA9}"/>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307668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6852061-5FF2-BB16-F408-03669440F6B3}"/>
            </a:ext>
          </a:extLst>
        </p:cNvPr>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54F5B295-357C-4C6A-D477-0F128C928082}"/>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3254BBB0-1BEF-EA40-ED7A-E852461053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F446E0A0-F67E-2414-5A06-52F1EF1EB1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C2D775F7-9468-AC7B-C7A2-CE2F9FBED3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0B6CD728-5CFB-13CD-E3A4-7C68F3E7C70E}"/>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F5061EC6-81A2-9FFA-748E-FFBD42C0C5C5}"/>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5D05D93F-E2B7-0FE6-C98A-E46D1A5975D3}"/>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B9AA12F8-482F-117E-6A59-FA8382E91B59}"/>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821D43BD-446D-3617-AC51-E7DF527AD7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09402A00-0D37-E723-8836-AA62A092BF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59B5F339-1892-E701-E125-D4F1AE580D5F}"/>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C48CBDE7-4B86-76C9-FC42-DCC0DE70EF31}"/>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8E8F8DB8-C342-A355-85FA-1D57FEE46EF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071B6409-42BF-0E9E-2C43-AEEFCEB4224C}"/>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E8DD6DD4-0012-ECAE-2C61-4AABFA68446C}"/>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B0077B83-F0BD-592E-87E2-DDAAC9A8AE5A}"/>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C242C1DE-CE70-DE5A-09DF-E142CF17C1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04D08C3F-9DC6-D603-905E-1F9FEAA758B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46542D44-6D6E-88EF-3EF3-54A7D94C45B8}"/>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061397A0-83D9-0D8C-D21F-FFE7D42D9A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7471A505-7CB4-3CB1-C59B-6BC4F0C64456}"/>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D68DEEB8-F40D-14D0-66DD-D719BF42A2CD}"/>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E32D7B52-3045-DD06-05AF-D6D0F23171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56BC75B3-7374-F862-1AB1-4CD45A020885}"/>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8F0B35FD-5B1E-58FC-A45E-02F6BD5FA81F}"/>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09891E0E-53B3-9791-B2B0-97FDA3A5D3B1}"/>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472A19D2-9014-848B-BF5E-158957B3BF85}"/>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BE7C22F2-C9B5-B0BA-9FB8-C3DE4E15CA79}"/>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3DABDFA-D6CB-6809-FE15-6A4BC1CF2A4E}"/>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CC122F85-DECA-3F86-F60C-558DF3C163F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F4A78CA4-214D-3DB2-8B6A-10AA696FE84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F70EB18D-2526-73CC-C411-2EED63F5F93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3A29DCDC-DFDD-3BDC-2B2E-AF4B3074A5C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F3492544-2946-4749-820C-1CC612C6C7C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842965CA-CB16-4D7E-0899-BF848B89476B}"/>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F91FC039-F0D2-4809-0AD6-CCFFFFCFFADB}"/>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65DECF9E-E5B1-75F1-737C-CE84A69D848E}"/>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1195926C-5CF6-ADF8-C021-3788B1CF819D}"/>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10D4ED04-0716-6D0B-1F3F-9910CE3A076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5DCE9694-DDE5-49B1-1CD4-98B2DDCE4563}"/>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A9CA9242-12E7-9143-431C-84941C76269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4ED1D541-E9CD-6011-A8A0-64645FC0A6C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BF0AE118-A8E3-3EE6-50A0-4BB74234478C}"/>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43150C7F-2548-0C52-5DCF-E482A83295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60032BBB-211E-23E0-4F71-7B00F44337A8}"/>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CEB6B36C-BF16-CF23-60E8-3C6F2F57D7D8}"/>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412B67FE-F6F3-B5E5-7CB1-0E3534CA1537}"/>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F5D50633-1520-3BC5-8711-E03A45E1F309}"/>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153B83A7-4B99-772C-3535-C2D11401FD22}"/>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82CF9287-9704-1811-14E5-B7D151EE9D5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03850DE7-F545-D644-4622-8E61FC96FCD2}"/>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E81DDA08-8431-F93E-75C6-D3FD09880157}"/>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0858624B-379D-5545-96B6-4F2BC2DAF57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42579E07-C1D2-A111-0337-C9AC1674BAB9}"/>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sp>
        <p:nvSpPr>
          <p:cNvPr id="3" name="Rectangle: Rounded Corners 2">
            <a:extLst>
              <a:ext uri="{FF2B5EF4-FFF2-40B4-BE49-F238E27FC236}">
                <a16:creationId xmlns:a16="http://schemas.microsoft.com/office/drawing/2014/main" id="{7365A9F2-E2D4-A054-B402-6100BB8264C2}"/>
              </a:ext>
            </a:extLst>
          </p:cNvPr>
          <p:cNvSpPr/>
          <p:nvPr/>
        </p:nvSpPr>
        <p:spPr bwMode="auto">
          <a:xfrm>
            <a:off x="6351431" y="2968070"/>
            <a:ext cx="1704492" cy="1475018"/>
          </a:xfrm>
          <a:prstGeom prst="roundRect">
            <a:avLst/>
          </a:prstGeom>
          <a:noFill/>
          <a:ln w="28575">
            <a:gradFill>
              <a:gsLst>
                <a:gs pos="0">
                  <a:srgbClr val="8DC8E8"/>
                </a:gs>
                <a:gs pos="100000">
                  <a:srgbClr val="D59ED7"/>
                </a:gs>
              </a:gsLst>
              <a:lin ang="5400000" scaled="1"/>
            </a:gradFill>
            <a:prstDash val="lgDash"/>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err="1">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797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197AA87-2EBF-057F-B1C3-B9E7BCC85BCB}"/>
            </a:ext>
          </a:extLst>
        </p:cNvPr>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61D233B7-E56F-5C4A-B538-15EA43D648D7}"/>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0CDD3C0B-69F9-47A7-39F4-45CC6B3BE4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6BB72E98-E391-B82B-0314-A0BB806EBA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DFE847AF-44CD-8D38-ABE8-AA48CA7705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4FF8FFF7-ACBF-9557-D7D7-13983F358496}"/>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EBE320BE-8A4E-2089-14AB-6A867B4CB77B}"/>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D284878B-8B79-D7E9-356F-A55D7EE6AF73}"/>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4CE23DE2-6E27-0481-7329-1934EA825403}"/>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BB184A8E-3294-9E24-1439-27F29DC8F2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2918CC3B-FBEC-1FE2-73B4-04BA02D80D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51D5F2AC-4F6D-A77C-AF3E-C3A17DA182C3}"/>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509C28E4-4845-C425-6808-A24B406C9EF1}"/>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13E9741C-103D-E091-4F66-CAAB8452A49F}"/>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C754DC4D-8442-A31F-9266-A7DDC07EE1D0}"/>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C308FC30-8FB6-0819-A331-9BDCBC4F1082}"/>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CCE04440-D304-13C9-2E86-F314B902F321}"/>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0A82EA10-CE03-045E-B2CC-10B2416D8B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ED90F259-D84C-9C42-31BF-2B4F08518776}"/>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E057CF2E-9193-74DD-E778-CD64FC4ECC36}"/>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CB68E59-2540-F24D-9764-B51702C34C7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C1450B95-1229-CAF9-786B-5BCC6D250EA2}"/>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94C65A14-3D9B-5B03-3034-2B8A3287DC7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7C19365C-24F7-F9FF-9499-19FBD3B4E69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9EA50B99-FC5E-D729-E785-E1E69594A5EB}"/>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AE5061FC-0A41-C9DA-2D7A-4D88DE41D5E0}"/>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6F86162A-C66D-6BAF-803B-65E834745C9A}"/>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2B9B9B59-54AF-9FEB-A5D6-352BAD156261}"/>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56CEF52D-F848-6419-4E9F-FDF47578152F}"/>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Load Testing</a:t>
            </a:r>
          </a:p>
        </p:txBody>
      </p:sp>
      <p:sp>
        <p:nvSpPr>
          <p:cNvPr id="1232" name="TextBox 1231">
            <a:extLst>
              <a:ext uri="{FF2B5EF4-FFF2-40B4-BE49-F238E27FC236}">
                <a16:creationId xmlns:a16="http://schemas.microsoft.com/office/drawing/2014/main" id="{D618155C-E5C0-86AC-D07E-76182A5139FC}"/>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400E0D2D-ECCB-34CD-FEF7-A2DAD547CA6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B6D8751-06F7-958E-2D3C-38121E6B7C3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EC015A50-61BF-D51D-5EEA-DE38951E2A1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3D3A5144-B3D1-E35F-BAD7-0D36212580C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B55123DA-A10B-22B5-900B-E702B40D65C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573C8B2C-D6C3-F673-3BA3-4B87CC311D43}"/>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DC241215-4C5D-AF0F-9B0D-F103D8C7122E}"/>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251EBDE1-5F2A-3ECD-6854-CC174F42F5D2}"/>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C30E8273-4240-5E57-FC3E-4DCA6B3814CC}"/>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F56FD970-0C14-7AC1-E7CE-9F2BFF01206B}"/>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A57071DF-C145-C1F7-A697-FD093B612CC3}"/>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36B16BB2-F901-1AF6-14A5-0F93384A3EC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4A35C1CB-486B-58F6-36D3-2C481336279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F694BBCC-0185-FB44-7323-DC8A5587E558}"/>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2887D00C-C0DA-4417-2507-EB33A6E6F1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16BE0F95-6B6E-A6DC-C84C-BFF13E9849BD}"/>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D8B4AEFD-C51D-15F4-5BFF-7F605AF58270}"/>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51E36D21-5F4B-11B2-FD9A-CE8A7AFA3B44}"/>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428D5A3F-DC6C-DBDB-BB5F-920604684988}"/>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1B7B02F2-1E84-C9E3-7063-0285E6D34E5D}"/>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A2727487-3616-3BBB-F4EF-50A9586B10F0}"/>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49402BC1-D6B1-8B1F-F323-EF8EB49A779B}"/>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EE4B48A1-E693-6B34-0A1C-9E4D6A59BEE9}"/>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A9E5CACF-1FB0-7BEC-E089-59F3D9565037}"/>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7399BBE5-19CE-7982-1073-D15A79C2605B}"/>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pic>
        <p:nvPicPr>
          <p:cNvPr id="4" name="Graphic 3">
            <a:extLst>
              <a:ext uri="{FF2B5EF4-FFF2-40B4-BE49-F238E27FC236}">
                <a16:creationId xmlns:a16="http://schemas.microsoft.com/office/drawing/2014/main" id="{DF2D9F6D-7A97-6238-6563-7FA3635DB56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218073" y="937183"/>
            <a:ext cx="640080" cy="640080"/>
          </a:xfrm>
          <a:prstGeom prst="rect">
            <a:avLst/>
          </a:prstGeom>
        </p:spPr>
      </p:pic>
      <p:sp>
        <p:nvSpPr>
          <p:cNvPr id="5" name="TextBox 4">
            <a:extLst>
              <a:ext uri="{FF2B5EF4-FFF2-40B4-BE49-F238E27FC236}">
                <a16:creationId xmlns:a16="http://schemas.microsoft.com/office/drawing/2014/main" id="{A86F56F8-3957-ED5B-C408-8F90CAABD97B}"/>
              </a:ext>
            </a:extLst>
          </p:cNvPr>
          <p:cNvSpPr txBox="1"/>
          <p:nvPr/>
        </p:nvSpPr>
        <p:spPr>
          <a:xfrm>
            <a:off x="1209106" y="1517983"/>
            <a:ext cx="559577"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Testing</a:t>
            </a:r>
          </a:p>
        </p:txBody>
      </p:sp>
      <p:sp>
        <p:nvSpPr>
          <p:cNvPr id="7" name="Arc 6">
            <a:extLst>
              <a:ext uri="{FF2B5EF4-FFF2-40B4-BE49-F238E27FC236}">
                <a16:creationId xmlns:a16="http://schemas.microsoft.com/office/drawing/2014/main" id="{11579C35-9086-74F2-E9DB-25BE6B44DDE3}"/>
              </a:ext>
            </a:extLst>
          </p:cNvPr>
          <p:cNvSpPr/>
          <p:nvPr/>
        </p:nvSpPr>
        <p:spPr>
          <a:xfrm>
            <a:off x="-2216378" y="1271404"/>
            <a:ext cx="9041248" cy="1252257"/>
          </a:xfrm>
          <a:prstGeom prst="arc">
            <a:avLst>
              <a:gd name="adj1" fmla="val 14247164"/>
              <a:gd name="adj2" fmla="val 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cxnSp>
        <p:nvCxnSpPr>
          <p:cNvPr id="10" name="Connector: Curved 9">
            <a:extLst>
              <a:ext uri="{FF2B5EF4-FFF2-40B4-BE49-F238E27FC236}">
                <a16:creationId xmlns:a16="http://schemas.microsoft.com/office/drawing/2014/main" id="{1A5AC256-A8BE-737B-639C-3B5A88F94DFB}"/>
              </a:ext>
            </a:extLst>
          </p:cNvPr>
          <p:cNvCxnSpPr>
            <a:cxnSpLocks/>
            <a:stCxn id="26" idx="3"/>
            <a:endCxn id="1203" idx="1"/>
          </p:cNvCxnSpPr>
          <p:nvPr/>
        </p:nvCxnSpPr>
        <p:spPr>
          <a:xfrm>
            <a:off x="7508699" y="2236041"/>
            <a:ext cx="3701911" cy="663775"/>
          </a:xfrm>
          <a:prstGeom prst="curvedConnector3">
            <a:avLst>
              <a:gd name="adj1" fmla="val 6330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15" name="Connector: Curved 14">
            <a:extLst>
              <a:ext uri="{FF2B5EF4-FFF2-40B4-BE49-F238E27FC236}">
                <a16:creationId xmlns:a16="http://schemas.microsoft.com/office/drawing/2014/main" id="{F186D9AE-3B52-9098-08FF-6DEE68BB48BC}"/>
              </a:ext>
            </a:extLst>
          </p:cNvPr>
          <p:cNvCxnSpPr>
            <a:cxnSpLocks/>
            <a:stCxn id="26" idx="0"/>
            <a:endCxn id="34" idx="3"/>
          </p:cNvCxnSpPr>
          <p:nvPr/>
        </p:nvCxnSpPr>
        <p:spPr>
          <a:xfrm rot="5400000" flipH="1" flipV="1">
            <a:off x="6756558" y="1169072"/>
            <a:ext cx="1179030" cy="314828"/>
          </a:xfrm>
          <a:prstGeom prst="curvedConnector4">
            <a:avLst>
              <a:gd name="adj1" fmla="val 36428"/>
              <a:gd name="adj2" fmla="val 172611"/>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21" name="Connector: Curved 20">
            <a:extLst>
              <a:ext uri="{FF2B5EF4-FFF2-40B4-BE49-F238E27FC236}">
                <a16:creationId xmlns:a16="http://schemas.microsoft.com/office/drawing/2014/main" id="{DFBEED5D-DF4E-9326-199F-9985FB678F23}"/>
              </a:ext>
            </a:extLst>
          </p:cNvPr>
          <p:cNvCxnSpPr>
            <a:cxnSpLocks/>
            <a:stCxn id="1135" idx="2"/>
            <a:endCxn id="1212" idx="3"/>
          </p:cNvCxnSpPr>
          <p:nvPr/>
        </p:nvCxnSpPr>
        <p:spPr>
          <a:xfrm rot="16200000" flipH="1">
            <a:off x="6729682" y="3193240"/>
            <a:ext cx="1303852" cy="370905"/>
          </a:xfrm>
          <a:prstGeom prst="curvedConnector4">
            <a:avLst>
              <a:gd name="adj1" fmla="val 45869"/>
              <a:gd name="adj2" fmla="val 196043"/>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24" name="Connector: Curved 23">
            <a:extLst>
              <a:ext uri="{FF2B5EF4-FFF2-40B4-BE49-F238E27FC236}">
                <a16:creationId xmlns:a16="http://schemas.microsoft.com/office/drawing/2014/main" id="{2EBC02E7-4BD3-9DF2-3B5E-36C3EDDF8674}"/>
              </a:ext>
            </a:extLst>
          </p:cNvPr>
          <p:cNvCxnSpPr>
            <a:cxnSpLocks/>
            <a:stCxn id="1135" idx="3"/>
            <a:endCxn id="36" idx="1"/>
          </p:cNvCxnSpPr>
          <p:nvPr/>
        </p:nvCxnSpPr>
        <p:spPr>
          <a:xfrm>
            <a:off x="7694690" y="2619045"/>
            <a:ext cx="1001313" cy="1078855"/>
          </a:xfrm>
          <a:prstGeom prst="curvedConnector3">
            <a:avLst>
              <a:gd name="adj1" fmla="val 5000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2557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146BC051-365F-B7AA-53CC-772632483BB9}"/>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a:rPr>
              <a:t>Microhack Goals</a:t>
            </a: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dirty="0">
              <a:ln w="3175">
                <a:noFill/>
              </a:ln>
              <a:solidFill>
                <a:srgbClr val="D59ED7"/>
              </a:solidFill>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516333CD-98D2-E2D8-07A8-291A68A922D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0B42E-52DC-8541-837A-79448373A6E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D68972D-38D5-3C3B-87E5-6671F9E6B01F}"/>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C7C8327D-A21A-2CB1-7816-2867AC0B0961}"/>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2C0C58A-D85B-5776-F7D0-4408FA2C6CC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75332832-B287-CA24-F5D8-AD0CFBD870A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4F21E360-7232-4B8D-DC87-BA57E3A764E2}"/>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B0A4A76F-EA9F-E674-8EC2-4FA909D23E4B}"/>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72574F54-E2FA-09C0-2CD7-2357906C21CE}"/>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95AA0F34-DCD7-987A-AF7C-760E29F6BB4C}"/>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AA3C8D4A-D271-8275-3C4D-C4E6AA083D33}"/>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6" name="TextBox 15">
            <a:extLst>
              <a:ext uri="{FF2B5EF4-FFF2-40B4-BE49-F238E27FC236}">
                <a16:creationId xmlns:a16="http://schemas.microsoft.com/office/drawing/2014/main" id="{37AAED91-CED6-5277-C057-021D8F16092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412710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2970AF00-6CFD-CCEB-DFE7-8989F60A15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8043-84C5-319A-F288-366E349129FF}"/>
              </a:ext>
            </a:extLst>
          </p:cNvPr>
          <p:cNvSpPr>
            <a:spLocks noGrp="1"/>
          </p:cNvSpPr>
          <p:nvPr>
            <p:ph type="title"/>
          </p:nvPr>
        </p:nvSpPr>
        <p:spPr/>
        <p:txBody>
          <a:bodyPr/>
          <a:lstStyle/>
          <a:p>
            <a:pPr algn="ctr"/>
            <a:r>
              <a:rPr lang="en-US" dirty="0">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E00FDA54-01F4-DE13-BBD4-BB04215FC1D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BF668563-A874-B1B2-06C2-688838625C32}"/>
              </a:ext>
            </a:extLst>
          </p:cNvPr>
          <p:cNvGraphicFramePr>
            <a:graphicFrameLocks noGrp="1"/>
          </p:cNvGraphicFramePr>
          <p:nvPr>
            <p:extLst>
              <p:ext uri="{D42A27DB-BD31-4B8C-83A1-F6EECF244321}">
                <p14:modId xmlns:p14="http://schemas.microsoft.com/office/powerpoint/2010/main" val="181160179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Welcome &amp; Introductions</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00 – 11:10 A.M. (EST)</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5466505"/>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ACF39405-2E51-084B-70BA-3AA22E7EB789}"/>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163517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C6C5594-F75A-E676-4839-94C71B74D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FD1D9-75F7-33CE-E21E-3C055D36894C}"/>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64FC2E4-7D69-D5C1-98D0-82A55A5CF3A3}"/>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30453D34-C4E4-54D2-7889-D529633BFBA5}"/>
              </a:ext>
            </a:extLst>
          </p:cNvPr>
          <p:cNvGraphicFramePr>
            <a:graphicFrameLocks noGrp="1"/>
          </p:cNvGraphicFramePr>
          <p:nvPr>
            <p:extLst>
              <p:ext uri="{D42A27DB-BD31-4B8C-83A1-F6EECF244321}">
                <p14:modId xmlns:p14="http://schemas.microsoft.com/office/powerpoint/2010/main" val="1882730670"/>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etting the Stag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10 – 11:50 A.M. (EST)</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8100997"/>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77D33D00-ACCC-805D-51A5-A9F903A23B0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568363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6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10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45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r>
              <a:rPr lang="en-US" sz="1200">
                <a:solidFill>
                  <a:schemeClr val="bg1"/>
                </a:solidFill>
              </a:rPr>
              <a:t>You are </a:t>
            </a:r>
            <a:r>
              <a:rPr kumimoji="0" lang="en-US" sz="12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5.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8.xml><?xml version="1.0" encoding="utf-8"?>
<a:theme xmlns:a="http://schemas.openxmlformats.org/drawingml/2006/main" name="1_Americas Soar Template">
  <a:themeElements>
    <a:clrScheme name="Custom 10">
      <a:dk1>
        <a:srgbClr val="000000"/>
      </a:dk1>
      <a:lt1>
        <a:srgbClr val="FFFFFF"/>
      </a:lt1>
      <a:dk2>
        <a:srgbClr val="091F2C"/>
      </a:dk2>
      <a:lt2>
        <a:srgbClr val="E8E6DF"/>
      </a:lt2>
      <a:accent1>
        <a:srgbClr val="0078D4"/>
      </a:accent1>
      <a:accent2>
        <a:srgbClr val="2A446F"/>
      </a:accent2>
      <a:accent3>
        <a:srgbClr val="8DC8E8"/>
      </a:accent3>
      <a:accent4>
        <a:srgbClr val="49C5B1"/>
      </a:accent4>
      <a:accent5>
        <a:srgbClr val="8661C5"/>
      </a:accent5>
      <a:accent6>
        <a:srgbClr val="C03BC4"/>
      </a:accent6>
      <a:hlink>
        <a:srgbClr val="0078D4"/>
      </a:hlink>
      <a:folHlink>
        <a:srgbClr val="C03BC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mericas Soar Template_v1" id="{8B908FC0-00D0-43C8-80E3-5E891EBC9FAE}" vid="{EC421234-54FA-463E-8157-1DDD99B074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7186308C97834AB56B094FEF8818F0" ma:contentTypeVersion="14" ma:contentTypeDescription="Create a new document." ma:contentTypeScope="" ma:versionID="196ec9c98a0496eb812e94dae708725b">
  <xsd:schema xmlns:xsd="http://www.w3.org/2001/XMLSchema" xmlns:xs="http://www.w3.org/2001/XMLSchema" xmlns:p="http://schemas.microsoft.com/office/2006/metadata/properties" xmlns:ns1="http://schemas.microsoft.com/sharepoint/v3" xmlns:ns2="054d9244-6265-4252-8c86-afb857f94a71" targetNamespace="http://schemas.microsoft.com/office/2006/metadata/properties" ma:root="true" ma:fieldsID="c61fe012b85f58687654c448fdb79496" ns1:_="" ns2:_="">
    <xsd:import namespace="http://schemas.microsoft.com/sharepoint/v3"/>
    <xsd:import namespace="054d9244-6265-4252-8c86-afb857f94a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4d9244-6265-4252-8c86-afb857f94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54d9244-6265-4252-8c86-afb857f94a7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5ADED4B-BC24-4E5F-A001-9F249C0CF662}">
  <ds:schemaRefs>
    <ds:schemaRef ds:uri="054d9244-6265-4252-8c86-afb857f94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C86C901-CF8E-4367-B300-0DD214DC4C63}">
  <ds:schemaRefs>
    <ds:schemaRef ds:uri="http://schemas.microsoft.com/sharepoint/v3/contenttype/forms"/>
  </ds:schemaRefs>
</ds:datastoreItem>
</file>

<file path=customXml/itemProps3.xml><?xml version="1.0" encoding="utf-8"?>
<ds:datastoreItem xmlns:ds="http://schemas.openxmlformats.org/officeDocument/2006/customXml" ds:itemID="{DB5D5546-3250-4738-B4D8-024DBE318E94}">
  <ds:schemaRefs>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http://purl.org/dc/dcmitype/"/>
    <ds:schemaRef ds:uri="http://www.w3.org/XML/1998/namespace"/>
    <ds:schemaRef ds:uri="http://schemas.openxmlformats.org/package/2006/metadata/core-properties"/>
    <ds:schemaRef ds:uri="054d9244-6265-4252-8c86-afb857f94a71"/>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63</TotalTime>
  <Words>3829</Words>
  <Application>Microsoft Office PowerPoint</Application>
  <PresentationFormat>Widescreen</PresentationFormat>
  <Paragraphs>594</Paragraphs>
  <Slides>33</Slides>
  <Notes>26</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9" baseType="lpstr">
      <vt:lpstr>Aptos</vt:lpstr>
      <vt:lpstr>Aptos Display</vt:lpstr>
      <vt:lpstr>Arial</vt:lpstr>
      <vt:lpstr>Avenir Next LT Pro </vt:lpstr>
      <vt:lpstr>Avenir Next LT Pro Demi</vt:lpstr>
      <vt:lpstr>Calibri</vt:lpstr>
      <vt:lpstr>Consolas</vt:lpstr>
      <vt:lpstr>Segoe Sans Display</vt:lpstr>
      <vt:lpstr>Segoe Sans Display Semibold</vt:lpstr>
      <vt:lpstr>Segoe Sans Text</vt:lpstr>
      <vt:lpstr>Segoe Sans Text Semibold</vt:lpstr>
      <vt:lpstr>Segoe UI</vt:lpstr>
      <vt:lpstr>Segoe UI Light</vt:lpstr>
      <vt:lpstr>Segoe UI Semibold</vt:lpstr>
      <vt:lpstr>Segoe UI Semilight</vt:lpstr>
      <vt:lpstr>Segoe UI Variable Display</vt:lpstr>
      <vt:lpstr>Wingdings</vt:lpstr>
      <vt:lpstr>1_Office Theme</vt:lpstr>
      <vt:lpstr>1_Industry Leader Summit White template</vt:lpstr>
      <vt:lpstr>Custom</vt:lpstr>
      <vt:lpstr>1_Azure 2023 Template</vt:lpstr>
      <vt:lpstr>Azure 2023 Template</vt:lpstr>
      <vt:lpstr>MSFT Cloud_Industry Slide Template-16x9</vt:lpstr>
      <vt:lpstr>Americas 16:9 Template Dark</vt:lpstr>
      <vt:lpstr>1_Americas Soar Template</vt:lpstr>
      <vt:lpstr>think-cell Slide</vt:lpstr>
      <vt:lpstr>Microsoft Microhack</vt:lpstr>
      <vt:lpstr>Agenda</vt:lpstr>
      <vt:lpstr>Welcome &amp; Introductions</vt:lpstr>
      <vt:lpstr>Microhack Goals</vt:lpstr>
      <vt:lpstr>Microhack Feedback</vt:lpstr>
      <vt:lpstr>Agenda</vt:lpstr>
      <vt:lpstr>Setting the Stage</vt:lpstr>
      <vt:lpstr>Agenda</vt:lpstr>
      <vt:lpstr>Microsoft Microhack</vt:lpstr>
      <vt:lpstr>Microsoft Microhack</vt:lpstr>
      <vt:lpstr>Rules of Engagement</vt:lpstr>
      <vt:lpstr>Customer Scenario | Contoso</vt:lpstr>
      <vt:lpstr>Bringing domain knowledge to LLMs</vt:lpstr>
      <vt:lpstr>Retrieval-Augmented Generation  High-level Architecture</vt:lpstr>
      <vt:lpstr>Prompting GenAI Example</vt:lpstr>
      <vt:lpstr>Prompt GenAI with Incorrect Response Example</vt:lpstr>
      <vt:lpstr>Evaluating RAG: Best Practices</vt:lpstr>
      <vt:lpstr>Anatomy of RAG</vt:lpstr>
      <vt:lpstr>Microhack Basic Architecture</vt:lpstr>
      <vt:lpstr>Hands-On Hack</vt:lpstr>
      <vt:lpstr>Agenda</vt:lpstr>
      <vt:lpstr>Break</vt:lpstr>
      <vt:lpstr>Agenda</vt:lpstr>
      <vt:lpstr>Show &amp; Tell</vt:lpstr>
      <vt:lpstr>Agenda</vt:lpstr>
      <vt:lpstr>Show and Tell Instructions</vt:lpstr>
      <vt:lpstr>Close</vt:lpstr>
      <vt:lpstr>Agenda</vt:lpstr>
      <vt:lpstr>Microhack Feedback</vt:lpstr>
      <vt:lpstr>End</vt:lpstr>
      <vt:lpstr>RAG Basic Architecture</vt:lpstr>
      <vt:lpstr>RAG Basic Architecture</vt:lpstr>
      <vt:lpstr>RAG Load Tes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lastModifiedBy>James Tooles</cp:lastModifiedBy>
  <cp:revision>13</cp:revision>
  <dcterms:created xsi:type="dcterms:W3CDTF">2024-10-09T17:28:49Z</dcterms:created>
  <dcterms:modified xsi:type="dcterms:W3CDTF">2025-02-18T13: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186308C97834AB56B094FEF8818F0</vt:lpwstr>
  </property>
  <property fmtid="{D5CDD505-2E9C-101B-9397-08002B2CF9AE}" pid="3" name="MediaServiceImageTags">
    <vt:lpwstr/>
  </property>
</Properties>
</file>